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1.xml" ContentType="application/vnd.openxmlformats-officedocument.presentationml.slide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slideMasters/slideMaster3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1.xml" ContentType="application/vnd.openxmlformats-officedocument.presentationml.slideMaster+xml"/>
  <Override PartName="/ppt/notesMasters/notesMaster1.xml" ContentType="application/vnd.openxmlformats-officedocument.presentationml.notesMaster+xml"/>
  <Override PartName="/ppt/theme/theme4.xml" ContentType="application/vnd.openxmlformats-officedocument.theme+xml"/>
  <Override PartName="/ppt/theme/theme3.xml" ContentType="application/vnd.openxmlformats-officedocument.theme+xml"/>
  <Override PartName="/ppt/theme/theme2.xml" ContentType="application/vnd.openxmlformats-officedocument.theme+xml"/>
  <Override PartName="/ppt/theme/theme1.xml" ContentType="application/vnd.openxmlformats-officedocument.theme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tags/tag4.xml" ContentType="application/vnd.openxmlformats-officedocument.presentationml.tags+xml"/>
  <Override PartName="/docProps/core.xml" ContentType="application/vnd.openxmlformats-package.core-propertie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  <p:sldMasterId id="2147483666" r:id="rId3"/>
  </p:sldMasterIdLst>
  <p:notesMasterIdLst>
    <p:notesMasterId r:id="rId7"/>
  </p:notesMasterIdLst>
  <p:sldIdLst>
    <p:sldId id="2147480415" r:id="rId4"/>
    <p:sldId id="2134805559" r:id="rId5"/>
    <p:sldId id="2147374672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978"/>
    <p:restoredTop sz="96327"/>
  </p:normalViewPr>
  <p:slideViewPr>
    <p:cSldViewPr snapToGrid="0">
      <p:cViewPr varScale="1">
        <p:scale>
          <a:sx n="150" d="100"/>
          <a:sy n="150" d="100"/>
        </p:scale>
        <p:origin x="976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openxmlformats.org/officeDocument/2006/relationships/customXml" Target="../customXml/item2.xml"/><Relationship Id="rId3" Type="http://schemas.openxmlformats.org/officeDocument/2006/relationships/slideMaster" Target="slideMasters/slideMaster3.xml"/><Relationship Id="rId7" Type="http://schemas.openxmlformats.org/officeDocument/2006/relationships/notesMaster" Target="notesMasters/notesMaster1.xml"/><Relationship Id="rId12" Type="http://schemas.openxmlformats.org/officeDocument/2006/relationships/customXml" Target="../customXml/item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tableStyles" Target="tableStyles.xml"/><Relationship Id="rId5" Type="http://schemas.openxmlformats.org/officeDocument/2006/relationships/slide" Target="slides/slide2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Relationship Id="rId14" Type="http://schemas.openxmlformats.org/officeDocument/2006/relationships/customXml" Target="../customXml/item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58168E-65C3-4845-A8D2-141904FCC922}" type="datetimeFigureOut">
              <a:rPr lang="en-US" smtClean="0"/>
              <a:t>8/3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8E71B7-654D-CB4A-B809-E7277E67FB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2456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94994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9C036E-5F70-4735-846C-3E64572340A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84683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user/kpmgindia" TargetMode="External"/><Relationship Id="rId3" Type="http://schemas.openxmlformats.org/officeDocument/2006/relationships/image" Target="../media/image7.png"/><Relationship Id="rId7" Type="http://schemas.openxmlformats.org/officeDocument/2006/relationships/image" Target="../media/image9.png"/><Relationship Id="rId2" Type="http://schemas.openxmlformats.org/officeDocument/2006/relationships/hyperlink" Target="https://twitter.com/kpmgindia" TargetMode="External"/><Relationship Id="rId1" Type="http://schemas.openxmlformats.org/officeDocument/2006/relationships/slideMaster" Target="../slideMasters/slideMaster3.xml"/><Relationship Id="rId6" Type="http://schemas.openxmlformats.org/officeDocument/2006/relationships/hyperlink" Target="https://www.facebook.com/KPMGIndia" TargetMode="External"/><Relationship Id="rId5" Type="http://schemas.openxmlformats.org/officeDocument/2006/relationships/image" Target="../media/image8.png"/><Relationship Id="rId4" Type="http://schemas.openxmlformats.org/officeDocument/2006/relationships/hyperlink" Target="https://www.linkedin.com/company/kpmgindia/" TargetMode="External"/><Relationship Id="rId9" Type="http://schemas.openxmlformats.org/officeDocument/2006/relationships/image" Target="../media/image10.png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D7ED20-5EB8-911F-6C17-59300B2C16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D3A29AE-F9A0-91A8-ADC7-960D3D24F6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C02390-5A48-0014-CE38-24BC8C55A4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7E6D97-487D-AD47-8455-7B7D665C36DB}" type="datetimeFigureOut">
              <a:rPr lang="en-US" smtClean="0"/>
              <a:t>8/3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3B9BAC-F96C-986B-60C1-BD100D770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67275C-274B-6160-3928-61DAD0D18B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15AB53-134F-024A-AB7F-8166F4DC37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8419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E3F217-BF3F-1286-8F6A-4A5591E4B9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2DDFAA6-E71A-AA20-0C8D-010E0165347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98810E-2DB5-23E0-27E9-FC81B0FA71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7E6D97-487D-AD47-8455-7B7D665C36DB}" type="datetimeFigureOut">
              <a:rPr lang="en-US" smtClean="0"/>
              <a:t>8/3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AB02F2-6FD7-7D50-0A75-B6BCC35C0D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6DC13F-BD27-F41F-62F8-A312DC049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15AB53-134F-024A-AB7F-8166F4DC37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16153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CB10771-A7B3-F05A-EDE1-BE6943A1FCE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3B7B4CD-2547-7110-B897-10D65D2B18D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ECE2BD-63F6-3939-2A66-D635A34D30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7E6D97-487D-AD47-8455-7B7D665C36DB}" type="datetimeFigureOut">
              <a:rPr lang="en-US" smtClean="0"/>
              <a:t>8/3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25A614-99A6-3D60-9CF1-EC338063E1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042D5E-D583-782C-7AE4-D8D2151321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15AB53-134F-024A-AB7F-8166F4DC37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455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E1658E4-25F7-4090-B4AD-3118FF4616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2" y="283"/>
            <a:ext cx="12184896" cy="6857433"/>
          </a:xfrm>
          <a:prstGeom prst="rect">
            <a:avLst/>
          </a:prstGeom>
        </p:spPr>
      </p:pic>
      <p:sp>
        <p:nvSpPr>
          <p:cNvPr id="201" name="Rectangle 200">
            <a:extLst>
              <a:ext uri="{FF2B5EF4-FFF2-40B4-BE49-F238E27FC236}">
                <a16:creationId xmlns:a16="http://schemas.microsoft.com/office/drawing/2014/main" id="{63D32DFB-1CC4-4B63-A64A-19ADDAE38708}"/>
              </a:ext>
            </a:extLst>
          </p:cNvPr>
          <p:cNvSpPr/>
          <p:nvPr userDrawn="1"/>
        </p:nvSpPr>
        <p:spPr>
          <a:xfrm flipV="1">
            <a:off x="0" y="0"/>
            <a:ext cx="12192000" cy="4659369"/>
          </a:xfrm>
          <a:prstGeom prst="rect">
            <a:avLst/>
          </a:prstGeom>
          <a:gradFill flip="none" rotWithShape="1">
            <a:gsLst>
              <a:gs pos="53000">
                <a:srgbClr val="000000">
                  <a:alpha val="0"/>
                </a:srgbClr>
              </a:gs>
              <a:gs pos="77000">
                <a:srgbClr val="000000">
                  <a:alpha val="33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B4F29769-6722-4A4A-BF32-3E64537C8000}"/>
              </a:ext>
            </a:extLst>
          </p:cNvPr>
          <p:cNvSpPr/>
          <p:nvPr userDrawn="1"/>
        </p:nvSpPr>
        <p:spPr>
          <a:xfrm flipH="1">
            <a:off x="0" y="2198632"/>
            <a:ext cx="12192000" cy="4659369"/>
          </a:xfrm>
          <a:prstGeom prst="rect">
            <a:avLst/>
          </a:prstGeom>
          <a:gradFill flip="none" rotWithShape="1">
            <a:gsLst>
              <a:gs pos="53000">
                <a:srgbClr val="000000">
                  <a:alpha val="0"/>
                </a:srgbClr>
              </a:gs>
              <a:gs pos="77000">
                <a:srgbClr val="000000">
                  <a:alpha val="56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02" name="Picture 201" descr="A close up of a logo&#10;&#10;Description automatically generated">
            <a:extLst>
              <a:ext uri="{FF2B5EF4-FFF2-40B4-BE49-F238E27FC236}">
                <a16:creationId xmlns:a16="http://schemas.microsoft.com/office/drawing/2014/main" id="{4F3C1758-167C-41A9-A2C4-EC1D050FB9D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1086" y="488287"/>
            <a:ext cx="817478" cy="1086513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C8562DA-BD87-4DB7-9EB8-D5FBEBBD18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8117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C8562DA-BD87-4DB7-9EB8-D5FBEBBD18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>
            <a:extLst>
              <a:ext uri="{FF2B5EF4-FFF2-40B4-BE49-F238E27FC236}">
                <a16:creationId xmlns:a16="http://schemas.microsoft.com/office/drawing/2014/main" id="{86CBAD78-DA74-497D-B3CE-A221A0F351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2601" y="3377504"/>
            <a:ext cx="5150871" cy="2128583"/>
          </a:xfrm>
        </p:spPr>
        <p:txBody>
          <a:bodyPr vert="horz" lIns="0" tIns="0" rIns="0" bIns="0" rtlCol="0" anchor="b">
            <a:no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4800" kern="120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Subtitle or presenter name here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10C56DC-A6E0-8C46-9988-EECFCA9C402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706" y="6012407"/>
            <a:ext cx="1639960" cy="664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6562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40">
            <a:extLst>
              <a:ext uri="{FF2B5EF4-FFF2-40B4-BE49-F238E27FC236}">
                <a16:creationId xmlns:a16="http://schemas.microsoft.com/office/drawing/2014/main" id="{39B83882-1578-44AF-883E-1BF579929E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2" t="546" r="472" b="13374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</p:pic>
      <p:sp>
        <p:nvSpPr>
          <p:cNvPr id="38" name="Title 1">
            <a:extLst>
              <a:ext uri="{FF2B5EF4-FFF2-40B4-BE49-F238E27FC236}">
                <a16:creationId xmlns:a16="http://schemas.microsoft.com/office/drawing/2014/main" id="{6098C677-B9C4-43E6-8A18-6F0DC1613FA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1478" y="1412876"/>
            <a:ext cx="5736993" cy="2148658"/>
          </a:xfrm>
        </p:spPr>
        <p:txBody>
          <a:bodyPr anchor="b">
            <a:normAutofit/>
          </a:bodyPr>
          <a:lstStyle>
            <a:lvl1pPr algn="l">
              <a:lnSpc>
                <a:spcPct val="90000"/>
              </a:lnSpc>
              <a:defRPr sz="48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215CDFD4-67F2-4120-B0BC-64B6F55F1F5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2279" y="4042365"/>
            <a:ext cx="5686193" cy="817562"/>
          </a:xfrm>
        </p:spPr>
        <p:txBody>
          <a:bodyPr vert="horz" lIns="0" tIns="0" rIns="0" bIns="0" rtlCol="0" anchor="t">
            <a:normAutofit/>
          </a:bodyPr>
          <a:lstStyle>
            <a:lvl1pPr>
              <a:defRPr lang="en-GB" sz="1800" dirty="0">
                <a:solidFill>
                  <a:schemeClr val="tx1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Subtitle or presenter name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3743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822D7A-50CC-4FB6-B681-3486677B3C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258DC3-C20C-472B-8A11-D136A723F7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0391" y="1133475"/>
            <a:ext cx="11232183" cy="46720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6AF930-3085-4062-9D1B-7C6735E313E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Reinventing bp | May 2020 |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7DBC8F-8A4C-4EE1-979E-1D81B5ED65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1F4323-79E7-4B0A-8BF1-020DD8438F7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72484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1328DC-695D-441B-8B0E-E5853A544E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549275"/>
            <a:ext cx="9655521" cy="4381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10B28B-14C0-4013-8E7A-B1D21ADB14E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Reinventing bp | May 2020 |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B2A7E1-2CBC-478E-B963-4285B37842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1F4323-79E7-4B0A-8BF1-020DD8438F7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8833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677326"/>
            <a:ext cx="10185600" cy="5184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03200" y="354993"/>
            <a:ext cx="1018560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 noProof="0" dirty="0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7506339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Right vertical dark image">
    <p:bg>
      <p:bgPr>
        <a:solidFill>
          <a:srgbClr val="0091D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7006A998-5794-4AC5-8F65-523461EA2F29}"/>
              </a:ext>
            </a:extLst>
          </p:cNvPr>
          <p:cNvGrpSpPr/>
          <p:nvPr userDrawn="1"/>
        </p:nvGrpSpPr>
        <p:grpSpPr>
          <a:xfrm>
            <a:off x="-7602" y="0"/>
            <a:ext cx="12199602" cy="6858000"/>
            <a:chOff x="-7602" y="0"/>
            <a:chExt cx="12199602" cy="685800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B7A2A57-10A4-4B8B-907F-1ADF1BBD359F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>
                <a:solidFill>
                  <a:schemeClr val="bg1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8802835-41D4-4AA2-B28C-DFCA26EB7C3F}"/>
                </a:ext>
              </a:extLst>
            </p:cNvPr>
            <p:cNvSpPr/>
            <p:nvPr userDrawn="1"/>
          </p:nvSpPr>
          <p:spPr>
            <a:xfrm flipH="1">
              <a:off x="-7602" y="0"/>
              <a:ext cx="12192000" cy="6858000"/>
            </a:xfrm>
            <a:prstGeom prst="rect">
              <a:avLst/>
            </a:prstGeom>
            <a:gradFill>
              <a:gsLst>
                <a:gs pos="53000">
                  <a:schemeClr val="tx1">
                    <a:alpha val="65000"/>
                  </a:schemeClr>
                </a:gs>
                <a:gs pos="0">
                  <a:schemeClr val="tx1">
                    <a:alpha val="73000"/>
                  </a:schemeClr>
                </a:gs>
                <a:gs pos="88000">
                  <a:schemeClr val="tx1">
                    <a:alpha val="0"/>
                  </a:schemeClr>
                </a:gs>
              </a:gsLst>
              <a:lin ang="108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69600" y="1339200"/>
            <a:ext cx="8256000" cy="3510000"/>
          </a:xfrm>
        </p:spPr>
        <p:txBody>
          <a:bodyPr anchor="t" anchorCtr="0"/>
          <a:lstStyle>
            <a:lvl1pPr algn="l">
              <a:defRPr sz="11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– </a:t>
            </a:r>
            <a:br>
              <a:rPr lang="en-GB"/>
            </a:br>
            <a:r>
              <a:rPr lang="en-GB"/>
              <a:t>dark vertical image – </a:t>
            </a:r>
            <a:r>
              <a:rPr lang="en-GB" err="1"/>
              <a:t>rhs</a:t>
            </a:r>
            <a:r>
              <a:rPr lang="en-GB"/>
              <a:t> </a:t>
            </a:r>
            <a:endParaRPr lang="en-US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008000" y="5036400"/>
            <a:ext cx="8217600" cy="216000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reeform 19"/>
          <p:cNvSpPr>
            <a:spLocks noChangeAspect="1" noEditPoints="1"/>
          </p:cNvSpPr>
          <p:nvPr userDrawn="1"/>
        </p:nvSpPr>
        <p:spPr bwMode="auto">
          <a:xfrm>
            <a:off x="1008000" y="525546"/>
            <a:ext cx="1079150" cy="439654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852733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Left vertical dark image">
    <p:bg>
      <p:bgPr>
        <a:solidFill>
          <a:srgbClr val="0091D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54900" y="1339200"/>
            <a:ext cx="6644384" cy="3510000"/>
          </a:xfrm>
        </p:spPr>
        <p:txBody>
          <a:bodyPr anchor="t" anchorCtr="0"/>
          <a:lstStyle>
            <a:lvl1pPr algn="l">
              <a:defRPr sz="1100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– dark vertical image – lhs </a:t>
            </a:r>
            <a:endParaRPr lang="en-US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593300" y="5036400"/>
            <a:ext cx="6043200" cy="216000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reeform 19"/>
          <p:cNvSpPr>
            <a:spLocks noChangeAspect="1" noEditPoints="1"/>
          </p:cNvSpPr>
          <p:nvPr userDrawn="1"/>
        </p:nvSpPr>
        <p:spPr bwMode="auto">
          <a:xfrm>
            <a:off x="4593300" y="525546"/>
            <a:ext cx="1079150" cy="439654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748550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Right vertical light image">
    <p:bg>
      <p:bgPr>
        <a:solidFill>
          <a:srgbClr val="0091D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69600" y="1339200"/>
            <a:ext cx="8256000" cy="3510000"/>
          </a:xfrm>
        </p:spPr>
        <p:txBody>
          <a:bodyPr anchor="t" anchorCtr="0"/>
          <a:lstStyle>
            <a:lvl1pPr algn="l">
              <a:defRPr sz="11000" baseline="0">
                <a:solidFill>
                  <a:srgbClr val="00338D"/>
                </a:solidFill>
              </a:defRPr>
            </a:lvl1pPr>
          </a:lstStyle>
          <a:p>
            <a:r>
              <a:rPr lang="en-GB"/>
              <a:t>Title slide – </a:t>
            </a:r>
            <a:br>
              <a:rPr lang="en-GB"/>
            </a:br>
            <a:r>
              <a:rPr lang="en-GB"/>
              <a:t>light vertical image – </a:t>
            </a:r>
            <a:r>
              <a:rPr lang="en-GB" err="1"/>
              <a:t>rhs</a:t>
            </a:r>
            <a:r>
              <a:rPr lang="en-GB"/>
              <a:t> </a:t>
            </a:r>
            <a:endParaRPr lang="en-US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008000" y="5036400"/>
            <a:ext cx="8217600" cy="216000"/>
          </a:xfrm>
        </p:spPr>
        <p:txBody>
          <a:bodyPr/>
          <a:lstStyle>
            <a:lvl1pPr>
              <a:defRPr sz="1100">
                <a:solidFill>
                  <a:srgbClr val="00338D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reeform 19"/>
          <p:cNvSpPr>
            <a:spLocks noChangeAspect="1" noEditPoints="1"/>
          </p:cNvSpPr>
          <p:nvPr userDrawn="1"/>
        </p:nvSpPr>
        <p:spPr bwMode="auto">
          <a:xfrm>
            <a:off x="1008000" y="525546"/>
            <a:ext cx="1079150" cy="439654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rgbClr val="00338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86816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3F6A80-D992-E0C1-6D9B-CD35021282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8FB5DE-CEE6-C852-D586-4EB37A209B8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C843A1-0F73-D68A-44CD-DA61459173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7E6D97-487D-AD47-8455-7B7D665C36DB}" type="datetimeFigureOut">
              <a:rPr lang="en-US" smtClean="0"/>
              <a:t>8/3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028D14-C525-B49B-B1C0-F51CA7E612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44B54A-DDCB-1DFA-EA50-65944662A3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15AB53-134F-024A-AB7F-8166F4DC37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49292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Left vertical light image">
    <p:bg>
      <p:bgPr>
        <a:solidFill>
          <a:srgbClr val="0091D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54900" y="1339200"/>
            <a:ext cx="6644384" cy="3510000"/>
          </a:xfrm>
        </p:spPr>
        <p:txBody>
          <a:bodyPr anchor="t" anchorCtr="0"/>
          <a:lstStyle>
            <a:lvl1pPr algn="l">
              <a:defRPr sz="11000">
                <a:solidFill>
                  <a:srgbClr val="00338D"/>
                </a:solidFill>
              </a:defRPr>
            </a:lvl1pPr>
          </a:lstStyle>
          <a:p>
            <a:r>
              <a:rPr lang="en-GB"/>
              <a:t>Title slide – light vertical image – lhs </a:t>
            </a:r>
            <a:endParaRPr lang="en-US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593300" y="5036400"/>
            <a:ext cx="6043200" cy="216000"/>
          </a:xfrm>
        </p:spPr>
        <p:txBody>
          <a:bodyPr/>
          <a:lstStyle>
            <a:lvl1pPr>
              <a:defRPr sz="1100">
                <a:solidFill>
                  <a:srgbClr val="00338D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reeform 19"/>
          <p:cNvSpPr>
            <a:spLocks noChangeAspect="1" noEditPoints="1"/>
          </p:cNvSpPr>
          <p:nvPr userDrawn="1"/>
        </p:nvSpPr>
        <p:spPr bwMode="auto">
          <a:xfrm>
            <a:off x="4593300" y="525546"/>
            <a:ext cx="1079150" cy="439654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rgbClr val="00338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87979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Singular light image">
    <p:bg>
      <p:bgPr>
        <a:solidFill>
          <a:srgbClr val="0091D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26400" y="1346400"/>
            <a:ext cx="8256000" cy="3510000"/>
          </a:xfrm>
        </p:spPr>
        <p:txBody>
          <a:bodyPr anchor="t" anchorCtr="0"/>
          <a:lstStyle>
            <a:lvl1pPr algn="l">
              <a:defRPr sz="11000">
                <a:solidFill>
                  <a:srgbClr val="00338D"/>
                </a:solidFill>
              </a:defRPr>
            </a:lvl1pPr>
          </a:lstStyle>
          <a:p>
            <a:r>
              <a:rPr lang="en-US"/>
              <a:t>Title slide – singular light </a:t>
            </a:r>
            <a:br>
              <a:rPr lang="en-US"/>
            </a:br>
            <a:r>
              <a:rPr lang="en-US"/>
              <a:t>image</a:t>
            </a:r>
          </a:p>
        </p:txBody>
      </p:sp>
      <p:sp>
        <p:nvSpPr>
          <p:cNvPr id="4" name="object 3"/>
          <p:cNvSpPr/>
          <p:nvPr userDrawn="1"/>
        </p:nvSpPr>
        <p:spPr>
          <a:xfrm>
            <a:off x="1" y="0"/>
            <a:ext cx="1587600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>
            <a:noAutofit/>
          </a:bodyPr>
          <a:lstStyle/>
          <a:p>
            <a:endParaRPr sz="1800">
              <a:latin typeface="Arial" panose="020B0604020202020204" pitchFamily="34" charset="0"/>
            </a:endParaRP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52133" y="5036400"/>
            <a:ext cx="8230267" cy="216000"/>
          </a:xfrm>
        </p:spPr>
        <p:txBody>
          <a:bodyPr/>
          <a:lstStyle>
            <a:lvl1pPr>
              <a:defRPr sz="1100">
                <a:solidFill>
                  <a:srgbClr val="00338D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reeform 19"/>
          <p:cNvSpPr>
            <a:spLocks noChangeAspect="1" noEditPoints="1"/>
          </p:cNvSpPr>
          <p:nvPr userDrawn="1"/>
        </p:nvSpPr>
        <p:spPr bwMode="auto">
          <a:xfrm>
            <a:off x="2709863" y="525546"/>
            <a:ext cx="1079150" cy="439654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rgbClr val="00338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94897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Singular dark image">
    <p:bg>
      <p:bgPr>
        <a:solidFill>
          <a:srgbClr val="0091D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26400" y="1346400"/>
            <a:ext cx="8256000" cy="3510000"/>
          </a:xfrm>
        </p:spPr>
        <p:txBody>
          <a:bodyPr anchor="t" anchorCtr="0"/>
          <a:lstStyle>
            <a:lvl1pPr algn="l">
              <a:defRPr sz="11000">
                <a:solidFill>
                  <a:schemeClr val="bg1"/>
                </a:solidFill>
              </a:defRPr>
            </a:lvl1pPr>
          </a:lstStyle>
          <a:p>
            <a:r>
              <a:rPr lang="en-US"/>
              <a:t>Title slide – singular dark </a:t>
            </a:r>
            <a:br>
              <a:rPr lang="en-US"/>
            </a:br>
            <a:r>
              <a:rPr lang="en-US"/>
              <a:t>image</a:t>
            </a:r>
          </a:p>
        </p:txBody>
      </p:sp>
      <p:sp>
        <p:nvSpPr>
          <p:cNvPr id="4" name="object 3"/>
          <p:cNvSpPr/>
          <p:nvPr userDrawn="1"/>
        </p:nvSpPr>
        <p:spPr>
          <a:xfrm>
            <a:off x="1" y="0"/>
            <a:ext cx="1587600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6D2077"/>
          </a:solidFill>
        </p:spPr>
        <p:txBody>
          <a:bodyPr wrap="square" lIns="0" tIns="0" rIns="0" bIns="0" rtlCol="0">
            <a:noAutofit/>
          </a:bodyPr>
          <a:lstStyle/>
          <a:p>
            <a:endParaRPr sz="1800">
              <a:latin typeface="Arial" panose="020B0604020202020204" pitchFamily="34" charset="0"/>
            </a:endParaRP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52133" y="5036400"/>
            <a:ext cx="8230267" cy="216000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reeform 19"/>
          <p:cNvSpPr>
            <a:spLocks noChangeAspect="1" noEditPoints="1"/>
          </p:cNvSpPr>
          <p:nvPr userDrawn="1"/>
        </p:nvSpPr>
        <p:spPr bwMode="auto">
          <a:xfrm>
            <a:off x="2709863" y="525546"/>
            <a:ext cx="1079150" cy="439654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64648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Singular image title ba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3"/>
          <p:cNvSpPr/>
          <p:nvPr userDrawn="1"/>
        </p:nvSpPr>
        <p:spPr>
          <a:xfrm>
            <a:off x="-2" y="0"/>
            <a:ext cx="4876800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483698"/>
          </a:solidFill>
        </p:spPr>
        <p:txBody>
          <a:bodyPr wrap="square" lIns="0" tIns="0" rIns="0" bIns="0" rtlCol="0">
            <a:noAutofit/>
          </a:bodyPr>
          <a:lstStyle/>
          <a:p>
            <a:endParaRPr sz="1800">
              <a:latin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969601" y="1339200"/>
            <a:ext cx="3476895" cy="3510000"/>
          </a:xfrm>
        </p:spPr>
        <p:txBody>
          <a:bodyPr anchor="t" anchorCtr="0"/>
          <a:lstStyle>
            <a:lvl1pPr algn="l"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– singular image title bar</a:t>
            </a:r>
            <a:endParaRPr lang="en-US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008001" y="5036400"/>
            <a:ext cx="3438495" cy="216000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reeform 19"/>
          <p:cNvSpPr>
            <a:spLocks noChangeAspect="1" noEditPoints="1"/>
          </p:cNvSpPr>
          <p:nvPr userDrawn="1"/>
        </p:nvSpPr>
        <p:spPr bwMode="auto">
          <a:xfrm>
            <a:off x="1008000" y="525546"/>
            <a:ext cx="1079150" cy="439654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13612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No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26400" y="1346400"/>
            <a:ext cx="8256000" cy="3510000"/>
          </a:xfrm>
        </p:spPr>
        <p:txBody>
          <a:bodyPr anchor="t" anchorCtr="0"/>
          <a:lstStyle>
            <a:lvl1pPr algn="l">
              <a:defRPr sz="1100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– </a:t>
            </a:r>
            <a:br>
              <a:rPr lang="en-GB"/>
            </a:br>
            <a:r>
              <a:rPr lang="en-GB"/>
              <a:t>no image</a:t>
            </a:r>
            <a:endParaRPr lang="en-US"/>
          </a:p>
        </p:txBody>
      </p:sp>
      <p:sp>
        <p:nvSpPr>
          <p:cNvPr id="4" name="object 3"/>
          <p:cNvSpPr/>
          <p:nvPr userDrawn="1"/>
        </p:nvSpPr>
        <p:spPr>
          <a:xfrm>
            <a:off x="1" y="0"/>
            <a:ext cx="1587600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>
            <a:noAutofit/>
          </a:bodyPr>
          <a:lstStyle/>
          <a:p>
            <a:endParaRPr sz="1800">
              <a:latin typeface="Arial" panose="020B0604020202020204" pitchFamily="34" charset="0"/>
            </a:endParaRP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52133" y="5036400"/>
            <a:ext cx="8230267" cy="216000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reeform 19"/>
          <p:cNvSpPr>
            <a:spLocks noChangeAspect="1" noEditPoints="1"/>
          </p:cNvSpPr>
          <p:nvPr userDrawn="1"/>
        </p:nvSpPr>
        <p:spPr bwMode="auto">
          <a:xfrm>
            <a:off x="2709863" y="525546"/>
            <a:ext cx="1079150" cy="439654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567465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29968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1CC6B99-2D9A-4D97-8992-D5D974BC846A}"/>
              </a:ext>
            </a:extLst>
          </p:cNvPr>
          <p:cNvSpPr/>
          <p:nvPr userDrawn="1"/>
        </p:nvSpPr>
        <p:spPr>
          <a:xfrm>
            <a:off x="3130826" y="6112565"/>
            <a:ext cx="7464287" cy="7454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6AA14EA-BA90-4465-B0B8-6D260F071D04}"/>
              </a:ext>
            </a:extLst>
          </p:cNvPr>
          <p:cNvSpPr/>
          <p:nvPr userDrawn="1"/>
        </p:nvSpPr>
        <p:spPr>
          <a:xfrm>
            <a:off x="0" y="0"/>
            <a:ext cx="39116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>
              <a:solidFill>
                <a:schemeClr val="bg1"/>
              </a:solidFill>
            </a:endParaRPr>
          </a:p>
        </p:txBody>
      </p:sp>
      <p:sp>
        <p:nvSpPr>
          <p:cNvPr id="6" name="Freeform 19">
            <a:extLst>
              <a:ext uri="{FF2B5EF4-FFF2-40B4-BE49-F238E27FC236}">
                <a16:creationId xmlns:a16="http://schemas.microsoft.com/office/drawing/2014/main" id="{08F60C5A-9303-4CDC-AFE1-BFF42E91013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1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8AABD3A-72A0-453A-9A82-6D2D3005F1FD}"/>
              </a:ext>
            </a:extLst>
          </p:cNvPr>
          <p:cNvSpPr txBox="1"/>
          <p:nvPr userDrawn="1"/>
        </p:nvSpPr>
        <p:spPr>
          <a:xfrm>
            <a:off x="4317503" y="6266997"/>
            <a:ext cx="6526089" cy="2928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© 2021 KPMG Global Services Private Limited, a company incorporated under the laws of India and a member firm of the KPMG network of independent member firms affiliated with KPMG International Limited (“KPMG International”), a private English company limited. All rights reserved. The KPMG name and logo are registered trademarks or trademarks of KPMG International.</a:t>
            </a:r>
            <a:endParaRPr lang="en-GB" sz="600" kern="1200" noProof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6954C30-EACA-41DC-9B5D-76162D10C14D}"/>
              </a:ext>
            </a:extLst>
          </p:cNvPr>
          <p:cNvSpPr txBox="1"/>
          <p:nvPr userDrawn="1"/>
        </p:nvSpPr>
        <p:spPr>
          <a:xfrm>
            <a:off x="4103701" y="6637578"/>
            <a:ext cx="6953693" cy="1353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ocument Classification: KPMG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8690035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998400" y="1330126"/>
            <a:ext cx="101952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862958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0126"/>
            <a:ext cx="49680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20800" y="1330126"/>
            <a:ext cx="49680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063057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IMAGE O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0126"/>
            <a:ext cx="49680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62208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98671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49F027-99D9-9FC8-33AF-5FA07B8861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9A2AC1-4BEA-5C32-59FB-5B0DBAB5A3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DBC02C-79B8-DE97-A147-53FD3ABABA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7E6D97-487D-AD47-8455-7B7D665C36DB}" type="datetimeFigureOut">
              <a:rPr lang="en-US" smtClean="0"/>
              <a:t>8/3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EF4C6C-0D6A-C29D-8018-434334E5E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D4206B-B44B-8831-60E0-F239A529E0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15AB53-134F-024A-AB7F-8166F4DC37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233406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62208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10032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991115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3742126"/>
            <a:ext cx="10195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1003200" y="1331360"/>
            <a:ext cx="10195200" cy="213574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460579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550400" y="1331360"/>
            <a:ext cx="3139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1003200" y="1331360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3742126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8049600" y="1331360"/>
            <a:ext cx="3139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502400" y="3742126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001600" y="3742126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048325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003200" y="1330126"/>
            <a:ext cx="101952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585781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587692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Shape 8"/>
          <p:cNvSpPr txBox="1">
            <a:spLocks/>
          </p:cNvSpPr>
          <p:nvPr userDrawn="1"/>
        </p:nvSpPr>
        <p:spPr>
          <a:xfrm>
            <a:off x="10739438" y="6266997"/>
            <a:ext cx="449655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00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2234934" y="6266997"/>
            <a:ext cx="7756800" cy="370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©KPMG 2016. Insert copyright information here.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Imagnimus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inciis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sed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maximus,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acepedi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psandi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occum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qui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coribus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et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volumquia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volo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con pe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quis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ipsae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con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experfe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raerovition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pariorem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fuga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.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Ita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cores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doluptae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pro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consed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mi,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ut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et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adi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bea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cus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sum il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magnita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tiunteseque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sae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vel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modi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rem con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errorpor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sendiciendes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et,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optate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est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, sin non pro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dolenda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nimint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ea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doluptur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sapernatius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eum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facernam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adipit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ex es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inverferum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eventio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rempos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inus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exererum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solutet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la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quia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suntotatem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explique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mi,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comnis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es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molut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eic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tem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excestis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et </a:t>
            </a:r>
            <a:r>
              <a:rPr lang="en-GB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ellautes</a:t>
            </a:r>
            <a:r>
              <a:rPr lang="en-GB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.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5059200" y="6637578"/>
            <a:ext cx="2256000" cy="1095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ocument Classification: KPMG Confidential</a:t>
            </a:r>
          </a:p>
        </p:txBody>
      </p:sp>
      <p:sp>
        <p:nvSpPr>
          <p:cNvPr id="9" name="Freeform 19"/>
          <p:cNvSpPr>
            <a:spLocks noEditPoints="1"/>
          </p:cNvSpPr>
          <p:nvPr userDrawn="1"/>
        </p:nvSpPr>
        <p:spPr bwMode="auto">
          <a:xfrm>
            <a:off x="1003201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955724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IV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2172526"/>
            <a:ext cx="1876800" cy="3704400"/>
          </a:xfrm>
        </p:spPr>
        <p:txBody>
          <a:bodyPr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080400" y="2172526"/>
            <a:ext cx="1876800" cy="3704400"/>
          </a:xfrm>
        </p:spPr>
        <p:txBody>
          <a:bodyPr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157600" y="2172526"/>
            <a:ext cx="1876800" cy="3704400"/>
          </a:xfrm>
        </p:spPr>
        <p:txBody>
          <a:bodyPr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34800" y="2172526"/>
            <a:ext cx="1876800" cy="3704400"/>
          </a:xfrm>
        </p:spPr>
        <p:txBody>
          <a:bodyPr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22388"/>
            <a:ext cx="1876800" cy="604800"/>
          </a:xfrm>
          <a:prstGeom prst="homePlate">
            <a:avLst>
              <a:gd name="adj" fmla="val 31970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080400" y="1322388"/>
            <a:ext cx="1876800" cy="604800"/>
          </a:xfrm>
          <a:prstGeom prst="chevron">
            <a:avLst>
              <a:gd name="adj" fmla="val 31101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157600" y="1322388"/>
            <a:ext cx="1876800" cy="604800"/>
          </a:xfrm>
          <a:prstGeom prst="chevron">
            <a:avLst>
              <a:gd name="adj" fmla="val 31101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34800" y="1322388"/>
            <a:ext cx="1876800" cy="604800"/>
          </a:xfrm>
          <a:prstGeom prst="chevron">
            <a:avLst>
              <a:gd name="adj" fmla="val 31101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9312000" y="1322388"/>
            <a:ext cx="1876800" cy="604800"/>
          </a:xfrm>
          <a:prstGeom prst="chevron">
            <a:avLst>
              <a:gd name="adj" fmla="val 31101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9312000" y="2172526"/>
            <a:ext cx="1876800" cy="3704400"/>
          </a:xfrm>
        </p:spPr>
        <p:txBody>
          <a:bodyPr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26308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OU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2172526"/>
            <a:ext cx="2347200" cy="3704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616000" y="2172526"/>
            <a:ext cx="2347200" cy="3704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228800" y="2172526"/>
            <a:ext cx="2347200" cy="3704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841600" y="2172526"/>
            <a:ext cx="2347200" cy="3704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994833" y="1322388"/>
            <a:ext cx="2347200" cy="604800"/>
          </a:xfrm>
          <a:prstGeom prst="homePlate">
            <a:avLst>
              <a:gd name="adj" fmla="val 31970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610422" y="1322388"/>
            <a:ext cx="2347200" cy="604800"/>
          </a:xfrm>
          <a:prstGeom prst="chevron">
            <a:avLst>
              <a:gd name="adj" fmla="val 31101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226011" y="1322388"/>
            <a:ext cx="2347200" cy="604800"/>
          </a:xfrm>
          <a:prstGeom prst="chevron">
            <a:avLst>
              <a:gd name="adj" fmla="val 31101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841600" y="1322388"/>
            <a:ext cx="2347200" cy="604800"/>
          </a:xfrm>
          <a:prstGeom prst="chevron">
            <a:avLst>
              <a:gd name="adj" fmla="val 31101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194664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WITH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10"/>
          <p:cNvSpPr>
            <a:spLocks noGrp="1" noChangeAspect="1"/>
          </p:cNvSpPr>
          <p:nvPr>
            <p:ph type="body" sz="quarter" idx="21"/>
          </p:nvPr>
        </p:nvSpPr>
        <p:spPr bwMode="gray">
          <a:xfrm>
            <a:off x="5306559" y="2757950"/>
            <a:ext cx="1660995" cy="16596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54000" tIns="54000" rIns="54000" bIns="54000" anchor="ctr" anchorCtr="1">
            <a:noAutofit/>
          </a:bodyPr>
          <a:lstStyle>
            <a:lvl1pPr algn="ctr">
              <a:defRPr sz="14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1003347" y="1322388"/>
            <a:ext cx="3847695" cy="388800"/>
          </a:xfrm>
          <a:prstGeom prst="rect">
            <a:avLst/>
          </a:prstGeom>
          <a:solidFill>
            <a:schemeClr val="tx2"/>
          </a:solidFill>
          <a:ln w="12700">
            <a:solidFill>
              <a:srgbClr val="00338D"/>
            </a:solidFill>
          </a:ln>
        </p:spPr>
        <p:txBody>
          <a:bodyPr vert="horz" lIns="54000" tIns="54000" rIns="54000" bIns="54000" rtlCol="0" anchor="ctr" anchorCtr="0">
            <a:noAutofit/>
          </a:bodyPr>
          <a:lstStyle>
            <a:lvl1pPr>
              <a:defRPr lang="en-US" sz="14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6" name="Text Placeholder 20"/>
          <p:cNvSpPr>
            <a:spLocks noGrp="1"/>
          </p:cNvSpPr>
          <p:nvPr>
            <p:ph type="body" sz="quarter" idx="48"/>
          </p:nvPr>
        </p:nvSpPr>
        <p:spPr bwMode="gray">
          <a:xfrm>
            <a:off x="1003347" y="4015250"/>
            <a:ext cx="3847695" cy="388800"/>
          </a:xfrm>
          <a:prstGeom prst="rect">
            <a:avLst/>
          </a:prstGeom>
          <a:solidFill>
            <a:schemeClr val="tx2"/>
          </a:solidFill>
          <a:ln w="12700">
            <a:solidFill>
              <a:srgbClr val="00338D"/>
            </a:solidFill>
          </a:ln>
        </p:spPr>
        <p:txBody>
          <a:bodyPr vert="horz" lIns="54000" tIns="54000" rIns="54000" bIns="54000" rtlCol="0" anchor="ctr" anchorCtr="0">
            <a:noAutofit/>
          </a:bodyPr>
          <a:lstStyle>
            <a:lvl1pPr>
              <a:defRPr lang="en-US" sz="12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7" name="Text Placeholder 20"/>
          <p:cNvSpPr>
            <a:spLocks noGrp="1"/>
          </p:cNvSpPr>
          <p:nvPr>
            <p:ph type="body" sz="quarter" idx="50"/>
          </p:nvPr>
        </p:nvSpPr>
        <p:spPr bwMode="gray">
          <a:xfrm>
            <a:off x="7344001" y="1322388"/>
            <a:ext cx="3847695" cy="388800"/>
          </a:xfrm>
          <a:prstGeom prst="rect">
            <a:avLst/>
          </a:prstGeom>
          <a:solidFill>
            <a:schemeClr val="tx2"/>
          </a:solidFill>
          <a:ln w="12700">
            <a:solidFill>
              <a:srgbClr val="00338D"/>
            </a:solidFill>
          </a:ln>
        </p:spPr>
        <p:txBody>
          <a:bodyPr vert="horz" lIns="54000" tIns="54000" rIns="54000" bIns="54000" rtlCol="0" anchor="ctr" anchorCtr="0">
            <a:noAutofit/>
          </a:bodyPr>
          <a:lstStyle>
            <a:lvl1pPr>
              <a:defRPr lang="en-US" sz="14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20"/>
          <p:cNvSpPr>
            <a:spLocks noGrp="1"/>
          </p:cNvSpPr>
          <p:nvPr>
            <p:ph type="body" sz="quarter" idx="52"/>
          </p:nvPr>
        </p:nvSpPr>
        <p:spPr bwMode="gray">
          <a:xfrm>
            <a:off x="7344001" y="4015250"/>
            <a:ext cx="3847695" cy="388800"/>
          </a:xfrm>
          <a:prstGeom prst="rect">
            <a:avLst/>
          </a:prstGeom>
          <a:solidFill>
            <a:srgbClr val="00338D"/>
          </a:solidFill>
          <a:ln w="12700">
            <a:solidFill>
              <a:srgbClr val="00338D"/>
            </a:solidFill>
          </a:ln>
        </p:spPr>
        <p:txBody>
          <a:bodyPr vert="horz" lIns="54000" tIns="54000" rIns="54000" bIns="54000" rtlCol="0" anchor="ctr" anchorCtr="0">
            <a:noAutofit/>
          </a:bodyPr>
          <a:lstStyle>
            <a:lvl1pPr>
              <a:defRPr lang="en-US" sz="14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9" name="AutoShape 20"/>
          <p:cNvSpPr>
            <a:spLocks noChangeArrowheads="1"/>
          </p:cNvSpPr>
          <p:nvPr userDrawn="1"/>
        </p:nvSpPr>
        <p:spPr bwMode="gray">
          <a:xfrm rot="2700000">
            <a:off x="5088625" y="2468534"/>
            <a:ext cx="382279" cy="502740"/>
          </a:xfrm>
          <a:prstGeom prst="rightArrow">
            <a:avLst>
              <a:gd name="adj1" fmla="val 63333"/>
              <a:gd name="adj2" fmla="val 49582"/>
            </a:avLst>
          </a:prstGeom>
          <a:solidFill>
            <a:schemeClr val="tx2"/>
          </a:soli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>
            <a:noAutofit/>
          </a:bodyPr>
          <a:lstStyle/>
          <a:p>
            <a:endParaRPr lang="en-CA" sz="1200">
              <a:solidFill>
                <a:srgbClr val="483698"/>
              </a:solidFill>
              <a:latin typeface="+mn-lt"/>
            </a:endParaRP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53"/>
          </p:nvPr>
        </p:nvSpPr>
        <p:spPr>
          <a:xfrm>
            <a:off x="1003347" y="1718873"/>
            <a:ext cx="3849600" cy="1472876"/>
          </a:xfrm>
          <a:ln w="12700">
            <a:solidFill>
              <a:schemeClr val="tx2"/>
            </a:solidFill>
          </a:ln>
        </p:spPr>
        <p:txBody>
          <a:bodyPr lIns="54000" tIns="54000" rIns="54000" bIns="54000">
            <a:noAutofit/>
          </a:bodyPr>
          <a:lstStyle>
            <a:lvl1pPr>
              <a:defRPr sz="1400"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54"/>
          </p:nvPr>
        </p:nvSpPr>
        <p:spPr>
          <a:xfrm>
            <a:off x="1003347" y="4404050"/>
            <a:ext cx="3849600" cy="1472876"/>
          </a:xfrm>
          <a:ln w="12700">
            <a:solidFill>
              <a:schemeClr val="tx2"/>
            </a:solidFill>
          </a:ln>
        </p:spPr>
        <p:txBody>
          <a:bodyPr lIns="54000" tIns="54000" rIns="54000" bIns="54000">
            <a:noAutofit/>
          </a:bodyPr>
          <a:lstStyle>
            <a:lvl1pPr>
              <a:defRPr sz="1400"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55"/>
          </p:nvPr>
        </p:nvSpPr>
        <p:spPr>
          <a:xfrm>
            <a:off x="7342095" y="1718873"/>
            <a:ext cx="3849600" cy="1472876"/>
          </a:xfrm>
          <a:ln w="12700">
            <a:solidFill>
              <a:schemeClr val="tx2"/>
            </a:solidFill>
          </a:ln>
        </p:spPr>
        <p:txBody>
          <a:bodyPr lIns="54000" tIns="54000" rIns="54000" bIns="54000">
            <a:noAutofit/>
          </a:bodyPr>
          <a:lstStyle>
            <a:lvl1pPr>
              <a:defRPr sz="1400"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56"/>
          </p:nvPr>
        </p:nvSpPr>
        <p:spPr>
          <a:xfrm>
            <a:off x="7342095" y="4404050"/>
            <a:ext cx="3849600" cy="1472876"/>
          </a:xfrm>
          <a:ln w="12700">
            <a:solidFill>
              <a:schemeClr val="tx2"/>
            </a:solidFill>
          </a:ln>
        </p:spPr>
        <p:txBody>
          <a:bodyPr lIns="54000" tIns="54000" rIns="54000" bIns="54000">
            <a:noAutofit/>
          </a:bodyPr>
          <a:lstStyle>
            <a:lvl1pPr>
              <a:defRPr sz="1400"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AutoShape 20"/>
          <p:cNvSpPr>
            <a:spLocks noChangeArrowheads="1"/>
          </p:cNvSpPr>
          <p:nvPr userDrawn="1"/>
        </p:nvSpPr>
        <p:spPr bwMode="gray">
          <a:xfrm rot="18900000" flipH="1">
            <a:off x="6742978" y="2468534"/>
            <a:ext cx="382279" cy="502740"/>
          </a:xfrm>
          <a:prstGeom prst="rightArrow">
            <a:avLst>
              <a:gd name="adj1" fmla="val 63333"/>
              <a:gd name="adj2" fmla="val 49582"/>
            </a:avLst>
          </a:prstGeom>
          <a:solidFill>
            <a:schemeClr val="tx2"/>
          </a:soli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>
            <a:noAutofit/>
          </a:bodyPr>
          <a:lstStyle/>
          <a:p>
            <a:endParaRPr lang="en-CA" sz="1200">
              <a:solidFill>
                <a:srgbClr val="483698"/>
              </a:solidFill>
              <a:latin typeface="+mn-lt"/>
            </a:endParaRPr>
          </a:p>
        </p:txBody>
      </p:sp>
      <p:sp>
        <p:nvSpPr>
          <p:cNvPr id="21" name="AutoShape 20"/>
          <p:cNvSpPr>
            <a:spLocks noChangeArrowheads="1"/>
          </p:cNvSpPr>
          <p:nvPr userDrawn="1"/>
        </p:nvSpPr>
        <p:spPr bwMode="gray">
          <a:xfrm rot="18900000" flipV="1">
            <a:off x="5088624" y="4310034"/>
            <a:ext cx="382279" cy="502740"/>
          </a:xfrm>
          <a:prstGeom prst="rightArrow">
            <a:avLst>
              <a:gd name="adj1" fmla="val 63333"/>
              <a:gd name="adj2" fmla="val 49582"/>
            </a:avLst>
          </a:prstGeom>
          <a:solidFill>
            <a:schemeClr val="tx2"/>
          </a:soli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>
            <a:noAutofit/>
          </a:bodyPr>
          <a:lstStyle/>
          <a:p>
            <a:endParaRPr lang="en-CA" sz="1200">
              <a:solidFill>
                <a:srgbClr val="483698"/>
              </a:solidFill>
              <a:latin typeface="+mn-lt"/>
            </a:endParaRPr>
          </a:p>
        </p:txBody>
      </p:sp>
      <p:sp>
        <p:nvSpPr>
          <p:cNvPr id="22" name="AutoShape 20"/>
          <p:cNvSpPr>
            <a:spLocks noChangeArrowheads="1"/>
          </p:cNvSpPr>
          <p:nvPr userDrawn="1"/>
        </p:nvSpPr>
        <p:spPr bwMode="gray">
          <a:xfrm rot="2700000" flipH="1" flipV="1">
            <a:off x="6742977" y="4310034"/>
            <a:ext cx="382279" cy="502740"/>
          </a:xfrm>
          <a:prstGeom prst="rightArrow">
            <a:avLst>
              <a:gd name="adj1" fmla="val 63333"/>
              <a:gd name="adj2" fmla="val 49582"/>
            </a:avLst>
          </a:prstGeom>
          <a:solidFill>
            <a:schemeClr val="tx2"/>
          </a:soli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>
            <a:noAutofit/>
          </a:bodyPr>
          <a:lstStyle/>
          <a:p>
            <a:endParaRPr lang="en-CA" sz="1200">
              <a:solidFill>
                <a:srgbClr val="483698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9320034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1003200" y="1708149"/>
            <a:ext cx="4968000" cy="4168775"/>
          </a:xfrm>
          <a:ln w="12700">
            <a:solidFill>
              <a:schemeClr val="tx2"/>
            </a:solidFill>
          </a:ln>
        </p:spPr>
        <p:txBody>
          <a:bodyPr lIns="54000" tIns="54000" rIns="54000" bIns="54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1003200" y="1322388"/>
            <a:ext cx="4968000" cy="388800"/>
          </a:xfrm>
          <a:solidFill>
            <a:schemeClr val="tx2"/>
          </a:solidFill>
          <a:ln w="12700">
            <a:solidFill>
              <a:schemeClr val="tx2"/>
            </a:solidFill>
          </a:ln>
        </p:spPr>
        <p:txBody>
          <a:bodyPr lIns="54000" tIns="54000" rIns="54000" bIns="54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20800" y="1708149"/>
            <a:ext cx="4968000" cy="4168775"/>
          </a:xfrm>
          <a:ln w="12700">
            <a:solidFill>
              <a:schemeClr val="tx2"/>
            </a:solidFill>
          </a:ln>
        </p:spPr>
        <p:txBody>
          <a:bodyPr lIns="54000" tIns="54000" rIns="54000" bIns="54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220800" y="1322388"/>
            <a:ext cx="4968000" cy="388800"/>
          </a:xfrm>
          <a:solidFill>
            <a:schemeClr val="tx2"/>
          </a:solidFill>
          <a:ln w="12700">
            <a:solidFill>
              <a:schemeClr val="tx2"/>
            </a:solidFill>
          </a:ln>
        </p:spPr>
        <p:txBody>
          <a:bodyPr lIns="54000" tIns="54000" rIns="54000" bIns="54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2435483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1003200" y="1708150"/>
            <a:ext cx="4968000" cy="1758950"/>
          </a:xfrm>
          <a:ln w="12700">
            <a:solidFill>
              <a:schemeClr val="tx2"/>
            </a:solidFill>
          </a:ln>
        </p:spPr>
        <p:txBody>
          <a:bodyPr lIns="54000" tIns="54000" rIns="54000" bIns="54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1003200" y="1322388"/>
            <a:ext cx="4968000" cy="388800"/>
          </a:xfrm>
          <a:solidFill>
            <a:schemeClr val="tx2"/>
          </a:solidFill>
          <a:ln w="12700">
            <a:solidFill>
              <a:schemeClr val="tx2"/>
            </a:solidFill>
          </a:ln>
        </p:spPr>
        <p:txBody>
          <a:bodyPr lIns="54000" tIns="54000" rIns="54000" bIns="54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20800" y="1708150"/>
            <a:ext cx="4968000" cy="1758950"/>
          </a:xfrm>
          <a:ln w="12700">
            <a:solidFill>
              <a:schemeClr val="tx2"/>
            </a:solidFill>
          </a:ln>
        </p:spPr>
        <p:txBody>
          <a:bodyPr lIns="54000" tIns="54000" rIns="54000" bIns="54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220800" y="1322388"/>
            <a:ext cx="4968000" cy="388800"/>
          </a:xfrm>
          <a:solidFill>
            <a:schemeClr val="tx2"/>
          </a:solidFill>
          <a:ln w="12700">
            <a:solidFill>
              <a:schemeClr val="tx2"/>
            </a:solidFill>
          </a:ln>
        </p:spPr>
        <p:txBody>
          <a:bodyPr lIns="54000" tIns="54000" rIns="54000" bIns="54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1003200" y="4117976"/>
            <a:ext cx="4968000" cy="1758950"/>
          </a:xfrm>
          <a:ln w="12700">
            <a:solidFill>
              <a:schemeClr val="tx2"/>
            </a:solidFill>
          </a:ln>
        </p:spPr>
        <p:txBody>
          <a:bodyPr lIns="54000" tIns="54000" rIns="54000" bIns="54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4"/>
          </p:nvPr>
        </p:nvSpPr>
        <p:spPr>
          <a:xfrm>
            <a:off x="1003200" y="3741920"/>
            <a:ext cx="4968000" cy="388800"/>
          </a:xfrm>
          <a:solidFill>
            <a:schemeClr val="tx2"/>
          </a:solidFill>
          <a:ln w="12700">
            <a:solidFill>
              <a:schemeClr val="tx2"/>
            </a:solidFill>
          </a:ln>
        </p:spPr>
        <p:txBody>
          <a:bodyPr lIns="54000" tIns="54000" rIns="54000" bIns="54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5"/>
          </p:nvPr>
        </p:nvSpPr>
        <p:spPr>
          <a:xfrm>
            <a:off x="6220800" y="4117976"/>
            <a:ext cx="4968000" cy="1758950"/>
          </a:xfrm>
          <a:ln w="12700">
            <a:solidFill>
              <a:schemeClr val="tx2"/>
            </a:solidFill>
          </a:ln>
        </p:spPr>
        <p:txBody>
          <a:bodyPr lIns="54000" tIns="54000" rIns="54000" bIns="54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8"/>
          <p:cNvSpPr>
            <a:spLocks noGrp="1"/>
          </p:cNvSpPr>
          <p:nvPr>
            <p:ph type="body" sz="quarter" idx="26"/>
          </p:nvPr>
        </p:nvSpPr>
        <p:spPr>
          <a:xfrm>
            <a:off x="6220800" y="3741920"/>
            <a:ext cx="4968000" cy="388800"/>
          </a:xfrm>
          <a:solidFill>
            <a:schemeClr val="tx2"/>
          </a:solidFill>
          <a:ln w="12700">
            <a:solidFill>
              <a:schemeClr val="tx2"/>
            </a:solidFill>
          </a:ln>
        </p:spPr>
        <p:txBody>
          <a:bodyPr lIns="54000" tIns="54000" rIns="54000" bIns="54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701643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065035-5564-56A7-28EE-AEFFB861F2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7635B0-0D61-34CF-D310-A9B0A7C67FF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54390FF-58AE-B226-0758-BF9930780A4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DD4C4CB-061D-7EE7-413D-3521D29648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7E6D97-487D-AD47-8455-7B7D665C36DB}" type="datetimeFigureOut">
              <a:rPr lang="en-US" smtClean="0"/>
              <a:t>8/3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A6F338D-5423-D4E6-EA56-7CC4865FB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01AA23-0709-99BD-A833-B187C54FF2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15AB53-134F-024A-AB7F-8166F4DC37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131951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bg>
      <p:bgPr>
        <a:solidFill>
          <a:srgbClr val="4836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709863" y="1435300"/>
            <a:ext cx="8489950" cy="3510000"/>
          </a:xfrm>
        </p:spPr>
        <p:txBody>
          <a:bodyPr anchor="t" anchorCtr="0"/>
          <a:lstStyle>
            <a:lvl1pPr algn="l">
              <a:defRPr sz="11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Freeform 19"/>
          <p:cNvSpPr>
            <a:spLocks noChangeAspect="1" noEditPoints="1"/>
          </p:cNvSpPr>
          <p:nvPr userDrawn="1"/>
        </p:nvSpPr>
        <p:spPr bwMode="auto">
          <a:xfrm>
            <a:off x="2729163" y="524433"/>
            <a:ext cx="1079150" cy="439654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object 3"/>
          <p:cNvSpPr/>
          <p:nvPr userDrawn="1"/>
        </p:nvSpPr>
        <p:spPr>
          <a:xfrm>
            <a:off x="0" y="1"/>
            <a:ext cx="1587731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>
            <a:noAutofit/>
          </a:bodyPr>
          <a:lstStyle/>
          <a:p>
            <a:endParaRPr sz="1800">
              <a:latin typeface="Arial" panose="020B0604020202020204" pitchFamily="34" charset="0"/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49463" y="5390900"/>
            <a:ext cx="8450350" cy="216000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615134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bg>
      <p:bgPr>
        <a:solidFill>
          <a:srgbClr val="6D20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709863" y="1435300"/>
            <a:ext cx="8489950" cy="3510000"/>
          </a:xfrm>
        </p:spPr>
        <p:txBody>
          <a:bodyPr anchor="t" anchorCtr="0"/>
          <a:lstStyle>
            <a:lvl1pPr algn="l">
              <a:defRPr sz="11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Freeform 19"/>
          <p:cNvSpPr>
            <a:spLocks noChangeAspect="1" noEditPoints="1"/>
          </p:cNvSpPr>
          <p:nvPr userDrawn="1"/>
        </p:nvSpPr>
        <p:spPr bwMode="auto">
          <a:xfrm>
            <a:off x="2729163" y="524433"/>
            <a:ext cx="1079150" cy="439654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object 3"/>
          <p:cNvSpPr/>
          <p:nvPr userDrawn="1"/>
        </p:nvSpPr>
        <p:spPr>
          <a:xfrm>
            <a:off x="0" y="1"/>
            <a:ext cx="1587731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A3A1"/>
          </a:solidFill>
        </p:spPr>
        <p:txBody>
          <a:bodyPr wrap="square" lIns="0" tIns="0" rIns="0" bIns="0" rtlCol="0">
            <a:noAutofit/>
          </a:bodyPr>
          <a:lstStyle/>
          <a:p>
            <a:endParaRPr sz="1800">
              <a:latin typeface="Arial" panose="020B0604020202020204" pitchFamily="34" charset="0"/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49463" y="5390900"/>
            <a:ext cx="8450350" cy="216000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23686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709863" y="1435300"/>
            <a:ext cx="8489950" cy="3510000"/>
          </a:xfrm>
        </p:spPr>
        <p:txBody>
          <a:bodyPr anchor="t" anchorCtr="0"/>
          <a:lstStyle>
            <a:lvl1pPr algn="l">
              <a:defRPr sz="11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Freeform 19"/>
          <p:cNvSpPr>
            <a:spLocks noChangeAspect="1" noEditPoints="1"/>
          </p:cNvSpPr>
          <p:nvPr userDrawn="1"/>
        </p:nvSpPr>
        <p:spPr bwMode="auto">
          <a:xfrm>
            <a:off x="2729163" y="524433"/>
            <a:ext cx="1079150" cy="439654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object 3"/>
          <p:cNvSpPr/>
          <p:nvPr userDrawn="1"/>
        </p:nvSpPr>
        <p:spPr>
          <a:xfrm>
            <a:off x="0" y="1"/>
            <a:ext cx="1587731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>
            <a:noAutofit/>
          </a:bodyPr>
          <a:lstStyle/>
          <a:p>
            <a:endParaRPr sz="1800">
              <a:latin typeface="Arial" panose="020B0604020202020204" pitchFamily="34" charset="0"/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49463" y="5390900"/>
            <a:ext cx="8450350" cy="216000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429987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4">
    <p:bg>
      <p:bgPr>
        <a:solidFill>
          <a:srgbClr val="00A3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709863" y="1435300"/>
            <a:ext cx="8489950" cy="3510000"/>
          </a:xfrm>
        </p:spPr>
        <p:txBody>
          <a:bodyPr anchor="t" anchorCtr="0"/>
          <a:lstStyle>
            <a:lvl1pPr algn="l">
              <a:defRPr sz="11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Freeform 19"/>
          <p:cNvSpPr>
            <a:spLocks noChangeAspect="1" noEditPoints="1"/>
          </p:cNvSpPr>
          <p:nvPr userDrawn="1"/>
        </p:nvSpPr>
        <p:spPr bwMode="auto">
          <a:xfrm>
            <a:off x="2729163" y="524433"/>
            <a:ext cx="1079150" cy="439654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object 3"/>
          <p:cNvSpPr/>
          <p:nvPr userDrawn="1"/>
        </p:nvSpPr>
        <p:spPr>
          <a:xfrm>
            <a:off x="0" y="1"/>
            <a:ext cx="1587731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470A68"/>
          </a:solidFill>
        </p:spPr>
        <p:txBody>
          <a:bodyPr wrap="square" lIns="0" tIns="0" rIns="0" bIns="0" rtlCol="0">
            <a:noAutofit/>
          </a:bodyPr>
          <a:lstStyle/>
          <a:p>
            <a:endParaRPr sz="1800">
              <a:latin typeface="Arial" panose="020B0604020202020204" pitchFamily="34" charset="0"/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49463" y="5390900"/>
            <a:ext cx="8450350" cy="216000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4775676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OLOR PAL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3200" y="432000"/>
            <a:ext cx="10185600" cy="5184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olors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1215696" y="1430719"/>
            <a:ext cx="9220656" cy="4323905"/>
            <a:chOff x="752400" y="1211263"/>
            <a:chExt cx="7647063" cy="4594225"/>
          </a:xfrm>
        </p:grpSpPr>
        <p:sp>
          <p:nvSpPr>
            <p:cNvPr id="37" name="TextBox 36"/>
            <p:cNvSpPr txBox="1"/>
            <p:nvPr userDrawn="1"/>
          </p:nvSpPr>
          <p:spPr>
            <a:xfrm>
              <a:off x="752400" y="1211263"/>
              <a:ext cx="828675" cy="504825"/>
            </a:xfrm>
            <a:prstGeom prst="rect">
              <a:avLst/>
            </a:prstGeom>
            <a:noFill/>
          </p:spPr>
          <p:txBody>
            <a:bodyPr wrap="square" lIns="0" tIns="0" rIns="54007" bIns="0" rtlCol="0">
              <a:noAutofit/>
            </a:bodyPr>
            <a:lstStyle/>
            <a:p>
              <a:r>
                <a:rPr lang="en-GB" sz="1000" b="1">
                  <a:solidFill>
                    <a:schemeClr val="tx2"/>
                  </a:solidFill>
                </a:rPr>
                <a:t>Primary</a:t>
              </a:r>
            </a:p>
          </p:txBody>
        </p:sp>
        <p:sp>
          <p:nvSpPr>
            <p:cNvPr id="38" name="TextBox 37"/>
            <p:cNvSpPr txBox="1"/>
            <p:nvPr userDrawn="1"/>
          </p:nvSpPr>
          <p:spPr>
            <a:xfrm>
              <a:off x="752400" y="2257893"/>
              <a:ext cx="898425" cy="504825"/>
            </a:xfrm>
            <a:prstGeom prst="rect">
              <a:avLst/>
            </a:prstGeom>
            <a:noFill/>
          </p:spPr>
          <p:txBody>
            <a:bodyPr wrap="square" lIns="0" tIns="0" rIns="54007" bIns="0" rtlCol="0">
              <a:noAutofit/>
            </a:bodyPr>
            <a:lstStyle/>
            <a:p>
              <a:r>
                <a:rPr lang="en-GB" sz="1000" b="1">
                  <a:solidFill>
                    <a:schemeClr val="tx2"/>
                  </a:solidFill>
                </a:rPr>
                <a:t>Secondary</a:t>
              </a:r>
            </a:p>
          </p:txBody>
        </p:sp>
        <p:sp>
          <p:nvSpPr>
            <p:cNvPr id="39" name="TextBox 38"/>
            <p:cNvSpPr txBox="1"/>
            <p:nvPr userDrawn="1"/>
          </p:nvSpPr>
          <p:spPr>
            <a:xfrm>
              <a:off x="752400" y="3304523"/>
              <a:ext cx="898425" cy="504825"/>
            </a:xfrm>
            <a:prstGeom prst="rect">
              <a:avLst/>
            </a:prstGeom>
            <a:noFill/>
          </p:spPr>
          <p:txBody>
            <a:bodyPr wrap="square" lIns="0" tIns="0" rIns="54007" bIns="0" rtlCol="0">
              <a:noAutofit/>
            </a:bodyPr>
            <a:lstStyle/>
            <a:p>
              <a:r>
                <a:rPr lang="en-GB" sz="1000" b="1">
                  <a:solidFill>
                    <a:schemeClr val="tx2"/>
                  </a:solidFill>
                </a:rPr>
                <a:t>Tertiary</a:t>
              </a:r>
            </a:p>
          </p:txBody>
        </p:sp>
        <p:sp>
          <p:nvSpPr>
            <p:cNvPr id="40" name="Rectangle 39"/>
            <p:cNvSpPr/>
            <p:nvPr userDrawn="1"/>
          </p:nvSpPr>
          <p:spPr>
            <a:xfrm>
              <a:off x="1566545" y="1211263"/>
              <a:ext cx="900000" cy="72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KPMG Blue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0 / 51 / 141</a:t>
              </a:r>
            </a:p>
          </p:txBody>
        </p:sp>
        <p:sp>
          <p:nvSpPr>
            <p:cNvPr id="41" name="Rectangle 40"/>
            <p:cNvSpPr/>
            <p:nvPr userDrawn="1"/>
          </p:nvSpPr>
          <p:spPr>
            <a:xfrm>
              <a:off x="2555365" y="1211263"/>
              <a:ext cx="900000" cy="720000"/>
            </a:xfrm>
            <a:prstGeom prst="rect">
              <a:avLst/>
            </a:prstGeom>
            <a:solidFill>
              <a:srgbClr val="005E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Medium Blue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0 / 94 / 184</a:t>
              </a:r>
            </a:p>
          </p:txBody>
        </p:sp>
        <p:sp>
          <p:nvSpPr>
            <p:cNvPr id="42" name="Rectangle 41"/>
            <p:cNvSpPr/>
            <p:nvPr userDrawn="1"/>
          </p:nvSpPr>
          <p:spPr>
            <a:xfrm>
              <a:off x="3544185" y="1211263"/>
              <a:ext cx="900000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Light Blue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0 / 145 / 218</a:t>
              </a:r>
            </a:p>
          </p:txBody>
        </p:sp>
        <p:sp>
          <p:nvSpPr>
            <p:cNvPr id="43" name="Rectangle 42"/>
            <p:cNvSpPr/>
            <p:nvPr userDrawn="1"/>
          </p:nvSpPr>
          <p:spPr>
            <a:xfrm>
              <a:off x="1566545" y="2257893"/>
              <a:ext cx="900000" cy="720000"/>
            </a:xfrm>
            <a:prstGeom prst="rect">
              <a:avLst/>
            </a:prstGeom>
            <a:solidFill>
              <a:srgbClr val="4836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Violet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72 / 54 / 152</a:t>
              </a:r>
            </a:p>
          </p:txBody>
        </p:sp>
        <p:sp>
          <p:nvSpPr>
            <p:cNvPr id="44" name="Rectangle 43"/>
            <p:cNvSpPr/>
            <p:nvPr userDrawn="1"/>
          </p:nvSpPr>
          <p:spPr>
            <a:xfrm>
              <a:off x="2555365" y="2257893"/>
              <a:ext cx="900000" cy="720000"/>
            </a:xfrm>
            <a:prstGeom prst="rect">
              <a:avLst/>
            </a:prstGeom>
            <a:solidFill>
              <a:srgbClr val="470A6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Purple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71 / 10 / 104</a:t>
              </a:r>
            </a:p>
          </p:txBody>
        </p:sp>
        <p:sp>
          <p:nvSpPr>
            <p:cNvPr id="45" name="Rectangle 44"/>
            <p:cNvSpPr/>
            <p:nvPr userDrawn="1"/>
          </p:nvSpPr>
          <p:spPr>
            <a:xfrm>
              <a:off x="3544185" y="2257893"/>
              <a:ext cx="900000" cy="720000"/>
            </a:xfrm>
            <a:prstGeom prst="rect">
              <a:avLst/>
            </a:prstGeom>
            <a:solidFill>
              <a:srgbClr val="6D207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Light Purple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109 / 32 / 119</a:t>
              </a:r>
            </a:p>
          </p:txBody>
        </p:sp>
        <p:sp>
          <p:nvSpPr>
            <p:cNvPr id="46" name="Rectangle 45"/>
            <p:cNvSpPr/>
            <p:nvPr userDrawn="1"/>
          </p:nvSpPr>
          <p:spPr>
            <a:xfrm>
              <a:off x="4533005" y="2257893"/>
              <a:ext cx="900000" cy="720000"/>
            </a:xfrm>
            <a:prstGeom prst="rect">
              <a:avLst/>
            </a:prstGeom>
            <a:solidFill>
              <a:srgbClr val="00A3A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Green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0 / 163 / 161</a:t>
              </a:r>
            </a:p>
          </p:txBody>
        </p:sp>
        <p:sp>
          <p:nvSpPr>
            <p:cNvPr id="47" name="Rectangle 46"/>
            <p:cNvSpPr/>
            <p:nvPr userDrawn="1"/>
          </p:nvSpPr>
          <p:spPr>
            <a:xfrm>
              <a:off x="1566545" y="3304523"/>
              <a:ext cx="900000" cy="720000"/>
            </a:xfrm>
            <a:prstGeom prst="rect">
              <a:avLst/>
            </a:prstGeom>
            <a:solidFill>
              <a:srgbClr val="009A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Dark Green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0 / 154 / 68</a:t>
              </a:r>
            </a:p>
          </p:txBody>
        </p:sp>
        <p:sp>
          <p:nvSpPr>
            <p:cNvPr id="48" name="Rectangle 47"/>
            <p:cNvSpPr/>
            <p:nvPr userDrawn="1"/>
          </p:nvSpPr>
          <p:spPr>
            <a:xfrm>
              <a:off x="2555365" y="3304523"/>
              <a:ext cx="900000" cy="720000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Light Green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67 / 176 / 42</a:t>
              </a:r>
            </a:p>
          </p:txBody>
        </p:sp>
        <p:sp>
          <p:nvSpPr>
            <p:cNvPr id="49" name="Rectangle 48"/>
            <p:cNvSpPr/>
            <p:nvPr userDrawn="1"/>
          </p:nvSpPr>
          <p:spPr>
            <a:xfrm>
              <a:off x="3544185" y="3304523"/>
              <a:ext cx="900000" cy="720000"/>
            </a:xfrm>
            <a:prstGeom prst="rect">
              <a:avLst/>
            </a:prstGeom>
            <a:solidFill>
              <a:srgbClr val="EAA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Yellow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234 / 170 / 0</a:t>
              </a:r>
            </a:p>
          </p:txBody>
        </p:sp>
        <p:sp>
          <p:nvSpPr>
            <p:cNvPr id="50" name="Rectangle 49"/>
            <p:cNvSpPr/>
            <p:nvPr userDrawn="1"/>
          </p:nvSpPr>
          <p:spPr>
            <a:xfrm>
              <a:off x="4533005" y="3304523"/>
              <a:ext cx="900000" cy="720000"/>
            </a:xfrm>
            <a:prstGeom prst="rect">
              <a:avLst/>
            </a:prstGeom>
            <a:solidFill>
              <a:srgbClr val="F68D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Orange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246 / 141 / 46</a:t>
              </a:r>
            </a:p>
          </p:txBody>
        </p:sp>
        <p:sp>
          <p:nvSpPr>
            <p:cNvPr id="51" name="Rectangle 50"/>
            <p:cNvSpPr/>
            <p:nvPr userDrawn="1"/>
          </p:nvSpPr>
          <p:spPr>
            <a:xfrm>
              <a:off x="5521825" y="3304523"/>
              <a:ext cx="900000" cy="720000"/>
            </a:xfrm>
            <a:prstGeom prst="rect">
              <a:avLst/>
            </a:prstGeom>
            <a:solidFill>
              <a:srgbClr val="BC20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Red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188 / 32 / 75</a:t>
              </a:r>
            </a:p>
          </p:txBody>
        </p:sp>
        <p:sp>
          <p:nvSpPr>
            <p:cNvPr id="52" name="Rectangle 51"/>
            <p:cNvSpPr/>
            <p:nvPr userDrawn="1"/>
          </p:nvSpPr>
          <p:spPr>
            <a:xfrm>
              <a:off x="6510645" y="3304523"/>
              <a:ext cx="900000" cy="720000"/>
            </a:xfrm>
            <a:prstGeom prst="rect">
              <a:avLst/>
            </a:prstGeom>
            <a:solidFill>
              <a:srgbClr val="C600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Pink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198 / 0 / 126</a:t>
              </a:r>
            </a:p>
          </p:txBody>
        </p:sp>
        <p:sp>
          <p:nvSpPr>
            <p:cNvPr id="53" name="Rectangle 52"/>
            <p:cNvSpPr/>
            <p:nvPr userDrawn="1"/>
          </p:nvSpPr>
          <p:spPr>
            <a:xfrm>
              <a:off x="1566545" y="4285386"/>
              <a:ext cx="900000" cy="72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KPMG Blue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0 / 51 / 141</a:t>
              </a:r>
            </a:p>
          </p:txBody>
        </p:sp>
        <p:sp>
          <p:nvSpPr>
            <p:cNvPr id="54" name="Rectangle 53"/>
            <p:cNvSpPr/>
            <p:nvPr userDrawn="1"/>
          </p:nvSpPr>
          <p:spPr>
            <a:xfrm>
              <a:off x="4533005" y="4285386"/>
              <a:ext cx="900000" cy="720000"/>
            </a:xfrm>
            <a:prstGeom prst="rect">
              <a:avLst/>
            </a:prstGeom>
            <a:solidFill>
              <a:srgbClr val="005E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Medium Blue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0 / 94 / 184</a:t>
              </a:r>
            </a:p>
          </p:txBody>
        </p:sp>
        <p:sp>
          <p:nvSpPr>
            <p:cNvPr id="55" name="Rectangle 54"/>
            <p:cNvSpPr/>
            <p:nvPr userDrawn="1"/>
          </p:nvSpPr>
          <p:spPr>
            <a:xfrm>
              <a:off x="2555365" y="4285386"/>
              <a:ext cx="900000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Light Blue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0 / 145 / 218</a:t>
              </a:r>
            </a:p>
          </p:txBody>
        </p:sp>
        <p:sp>
          <p:nvSpPr>
            <p:cNvPr id="56" name="Rectangle 55"/>
            <p:cNvSpPr/>
            <p:nvPr userDrawn="1"/>
          </p:nvSpPr>
          <p:spPr>
            <a:xfrm>
              <a:off x="3544185" y="4285386"/>
              <a:ext cx="900000" cy="720000"/>
            </a:xfrm>
            <a:prstGeom prst="rect">
              <a:avLst/>
            </a:prstGeom>
            <a:solidFill>
              <a:srgbClr val="6D207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Light Purple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109 / 32 / 119</a:t>
              </a:r>
            </a:p>
          </p:txBody>
        </p:sp>
        <p:sp>
          <p:nvSpPr>
            <p:cNvPr id="57" name="Rectangle 56"/>
            <p:cNvSpPr/>
            <p:nvPr userDrawn="1"/>
          </p:nvSpPr>
          <p:spPr>
            <a:xfrm>
              <a:off x="5521825" y="4285386"/>
              <a:ext cx="900000" cy="720000"/>
            </a:xfrm>
            <a:prstGeom prst="rect">
              <a:avLst/>
            </a:prstGeom>
            <a:solidFill>
              <a:srgbClr val="00A3A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Green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0 / 163 / 161</a:t>
              </a:r>
            </a:p>
          </p:txBody>
        </p:sp>
        <p:sp>
          <p:nvSpPr>
            <p:cNvPr id="58" name="Rectangle 57"/>
            <p:cNvSpPr/>
            <p:nvPr userDrawn="1"/>
          </p:nvSpPr>
          <p:spPr>
            <a:xfrm>
              <a:off x="7499463" y="4285386"/>
              <a:ext cx="900000" cy="720000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Light Green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67 / 176 / 42</a:t>
              </a:r>
            </a:p>
          </p:txBody>
        </p:sp>
        <p:sp>
          <p:nvSpPr>
            <p:cNvPr id="59" name="Rectangle 58"/>
            <p:cNvSpPr/>
            <p:nvPr userDrawn="1"/>
          </p:nvSpPr>
          <p:spPr>
            <a:xfrm>
              <a:off x="6510645" y="4285386"/>
              <a:ext cx="900000" cy="720000"/>
            </a:xfrm>
            <a:prstGeom prst="rect">
              <a:avLst/>
            </a:prstGeom>
            <a:solidFill>
              <a:srgbClr val="EAA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Yellow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234 / 170 / 0</a:t>
              </a:r>
            </a:p>
          </p:txBody>
        </p:sp>
        <p:sp>
          <p:nvSpPr>
            <p:cNvPr id="60" name="Rectangle 59"/>
            <p:cNvSpPr/>
            <p:nvPr userDrawn="1"/>
          </p:nvSpPr>
          <p:spPr>
            <a:xfrm>
              <a:off x="1566545" y="5085488"/>
              <a:ext cx="900000" cy="720000"/>
            </a:xfrm>
            <a:prstGeom prst="rect">
              <a:avLst/>
            </a:prstGeom>
            <a:solidFill>
              <a:srgbClr val="C600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Pink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198 / 0 / 126</a:t>
              </a:r>
            </a:p>
          </p:txBody>
        </p:sp>
        <p:sp>
          <p:nvSpPr>
            <p:cNvPr id="61" name="Rectangle 60"/>
            <p:cNvSpPr/>
            <p:nvPr userDrawn="1"/>
          </p:nvSpPr>
          <p:spPr>
            <a:xfrm>
              <a:off x="2555365" y="5085488"/>
              <a:ext cx="900000" cy="720000"/>
            </a:xfrm>
            <a:prstGeom prst="rect">
              <a:avLst/>
            </a:prstGeom>
            <a:solidFill>
              <a:srgbClr val="753F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Dark</a:t>
              </a:r>
              <a:r>
                <a:rPr lang="en-GB" sz="900" baseline="0">
                  <a:solidFill>
                    <a:schemeClr val="bg1"/>
                  </a:solidFill>
                </a:rPr>
                <a:t> Brown</a:t>
              </a:r>
            </a:p>
            <a:p>
              <a:pPr algn="ctr"/>
              <a:r>
                <a:rPr lang="en-GB" sz="900" baseline="0">
                  <a:solidFill>
                    <a:schemeClr val="bg1"/>
                  </a:solidFill>
                </a:rPr>
                <a:t>117 / 63 / 25</a:t>
              </a:r>
              <a:endParaRPr lang="en-GB" sz="900">
                <a:solidFill>
                  <a:schemeClr val="bg1"/>
                </a:solidFill>
              </a:endParaRPr>
            </a:p>
          </p:txBody>
        </p:sp>
        <p:sp>
          <p:nvSpPr>
            <p:cNvPr id="62" name="Rectangle 61"/>
            <p:cNvSpPr/>
            <p:nvPr userDrawn="1"/>
          </p:nvSpPr>
          <p:spPr>
            <a:xfrm>
              <a:off x="3544185" y="5085488"/>
              <a:ext cx="900000" cy="720000"/>
            </a:xfrm>
            <a:prstGeom prst="rect">
              <a:avLst/>
            </a:prstGeom>
            <a:solidFill>
              <a:srgbClr val="9B64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Light </a:t>
              </a:r>
              <a:r>
                <a:rPr lang="en-GB" sz="900" baseline="0">
                  <a:solidFill>
                    <a:schemeClr val="bg1"/>
                  </a:solidFill>
                </a:rPr>
                <a:t>Brown</a:t>
              </a:r>
            </a:p>
            <a:p>
              <a:pPr algn="ctr"/>
              <a:r>
                <a:rPr lang="en-GB" sz="900" baseline="0">
                  <a:solidFill>
                    <a:schemeClr val="bg1"/>
                  </a:solidFill>
                </a:rPr>
                <a:t>155 / 100 / 46</a:t>
              </a:r>
              <a:endParaRPr lang="en-GB" sz="900">
                <a:solidFill>
                  <a:schemeClr val="bg1"/>
                </a:solidFill>
              </a:endParaRPr>
            </a:p>
          </p:txBody>
        </p:sp>
        <p:sp>
          <p:nvSpPr>
            <p:cNvPr id="63" name="Rectangle 62"/>
            <p:cNvSpPr/>
            <p:nvPr userDrawn="1"/>
          </p:nvSpPr>
          <p:spPr>
            <a:xfrm>
              <a:off x="5521825" y="5085488"/>
              <a:ext cx="900000" cy="720000"/>
            </a:xfrm>
            <a:prstGeom prst="rect">
              <a:avLst/>
            </a:prstGeom>
            <a:solidFill>
              <a:srgbClr val="E3BC9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Beige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227 / 188 / 159</a:t>
              </a:r>
            </a:p>
          </p:txBody>
        </p:sp>
        <p:sp>
          <p:nvSpPr>
            <p:cNvPr id="64" name="Rectangle 63"/>
            <p:cNvSpPr/>
            <p:nvPr userDrawn="1"/>
          </p:nvSpPr>
          <p:spPr>
            <a:xfrm>
              <a:off x="4533005" y="5085488"/>
              <a:ext cx="900000" cy="720000"/>
            </a:xfrm>
            <a:prstGeom prst="rect">
              <a:avLst/>
            </a:prstGeom>
            <a:solidFill>
              <a:srgbClr val="9D937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Olive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157 / 147 / 117</a:t>
              </a:r>
            </a:p>
          </p:txBody>
        </p:sp>
        <p:sp>
          <p:nvSpPr>
            <p:cNvPr id="65" name="Rectangle 64"/>
            <p:cNvSpPr/>
            <p:nvPr userDrawn="1"/>
          </p:nvSpPr>
          <p:spPr>
            <a:xfrm>
              <a:off x="6510645" y="5085488"/>
              <a:ext cx="900000" cy="720000"/>
            </a:xfrm>
            <a:prstGeom prst="rect">
              <a:avLst/>
            </a:prstGeom>
            <a:solidFill>
              <a:srgbClr val="E3687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Light Pink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227 / 104 /</a:t>
              </a:r>
              <a:r>
                <a:rPr lang="en-GB" sz="900" baseline="0">
                  <a:solidFill>
                    <a:schemeClr val="bg1"/>
                  </a:solidFill>
                </a:rPr>
                <a:t> 119</a:t>
              </a:r>
              <a:endParaRPr lang="en-GB" sz="900">
                <a:solidFill>
                  <a:schemeClr val="bg1"/>
                </a:solidFill>
              </a:endParaRPr>
            </a:p>
          </p:txBody>
        </p:sp>
        <p:sp>
          <p:nvSpPr>
            <p:cNvPr id="66" name="TextBox 65"/>
            <p:cNvSpPr txBox="1"/>
            <p:nvPr userDrawn="1"/>
          </p:nvSpPr>
          <p:spPr>
            <a:xfrm>
              <a:off x="752400" y="4285386"/>
              <a:ext cx="814145" cy="504825"/>
            </a:xfrm>
            <a:prstGeom prst="rect">
              <a:avLst/>
            </a:prstGeom>
            <a:noFill/>
          </p:spPr>
          <p:txBody>
            <a:bodyPr wrap="square" lIns="0" tIns="0" rIns="54007" bIns="0" rtlCol="0">
              <a:noAutofit/>
            </a:bodyPr>
            <a:lstStyle/>
            <a:p>
              <a:r>
                <a:rPr lang="en-GB" sz="1000" b="1">
                  <a:solidFill>
                    <a:schemeClr val="tx2"/>
                  </a:solidFill>
                </a:rPr>
                <a:t>Colour</a:t>
              </a:r>
              <a:r>
                <a:rPr lang="en-GB" sz="1000" b="1" baseline="0">
                  <a:solidFill>
                    <a:schemeClr val="tx2"/>
                  </a:solidFill>
                </a:rPr>
                <a:t> o</a:t>
              </a:r>
              <a:r>
                <a:rPr lang="en-GB" sz="1000" b="1">
                  <a:solidFill>
                    <a:schemeClr val="tx2"/>
                  </a:solidFill>
                </a:rPr>
                <a:t>rder for graph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7522111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3"/>
          <p:cNvSpPr/>
          <p:nvPr userDrawn="1"/>
        </p:nvSpPr>
        <p:spPr>
          <a:xfrm>
            <a:off x="0" y="1"/>
            <a:ext cx="1587731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>
            <a:noAutofit/>
          </a:bodyPr>
          <a:lstStyle/>
          <a:p>
            <a:endParaRPr sz="1800">
              <a:latin typeface="Arial" panose="020B0604020202020204" pitchFamily="34" charset="0"/>
            </a:endParaRPr>
          </a:p>
        </p:txBody>
      </p:sp>
      <p:sp>
        <p:nvSpPr>
          <p:cNvPr id="16" name="Freeform 19"/>
          <p:cNvSpPr>
            <a:spLocks noChangeAspect="1" noEditPoints="1"/>
          </p:cNvSpPr>
          <p:nvPr userDrawn="1"/>
        </p:nvSpPr>
        <p:spPr bwMode="auto">
          <a:xfrm>
            <a:off x="2729163" y="524433"/>
            <a:ext cx="1079150" cy="439654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729163" y="4771394"/>
            <a:ext cx="7851751" cy="643342"/>
          </a:xfrm>
        </p:spPr>
        <p:txBody>
          <a:bodyPr/>
          <a:lstStyle>
            <a:lvl1pPr>
              <a:buFontTx/>
              <a:buNone/>
              <a:defRPr sz="1100" b="0">
                <a:solidFill>
                  <a:schemeClr val="bg1">
                    <a:lumMod val="65000"/>
                  </a:schemeClr>
                </a:solidFill>
              </a:defRPr>
            </a:lvl1pPr>
            <a:lvl2pPr>
              <a:buFontTx/>
              <a:buNone/>
              <a:defRPr sz="11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2729163" y="5711030"/>
            <a:ext cx="7851751" cy="169277"/>
          </a:xfrm>
        </p:spPr>
        <p:txBody>
          <a:bodyPr>
            <a:noAutofit/>
          </a:bodyPr>
          <a:lstStyle>
            <a:lvl1pPr>
              <a:buFontTx/>
              <a:buNone/>
              <a:defRPr sz="1100" b="0">
                <a:solidFill>
                  <a:schemeClr val="bg1">
                    <a:lumMod val="65000"/>
                  </a:schemeClr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729163" y="3831758"/>
            <a:ext cx="7851751" cy="643342"/>
          </a:xfrm>
        </p:spPr>
        <p:txBody>
          <a:bodyPr/>
          <a:lstStyle>
            <a:lvl1pPr>
              <a:buFontTx/>
              <a:buNone/>
              <a:defRPr sz="1100" b="0">
                <a:solidFill>
                  <a:schemeClr val="bg1">
                    <a:lumMod val="65000"/>
                  </a:schemeClr>
                </a:solidFill>
              </a:defRPr>
            </a:lvl1pPr>
            <a:lvl2pPr>
              <a:buFontTx/>
              <a:buNone/>
              <a:defRPr sz="11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2729163" y="3609216"/>
            <a:ext cx="2411738" cy="119064"/>
          </a:xfrm>
        </p:spPr>
        <p:txBody>
          <a:bodyPr/>
          <a:lstStyle>
            <a:lvl1pPr>
              <a:buFontTx/>
              <a:buNone/>
              <a:defRPr sz="1200" b="1">
                <a:solidFill>
                  <a:schemeClr val="tx2"/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5920501" y="3480007"/>
            <a:ext cx="2361268" cy="119064"/>
          </a:xfrm>
        </p:spPr>
        <p:txBody>
          <a:bodyPr/>
          <a:lstStyle>
            <a:lvl1pPr>
              <a:buFontTx/>
              <a:buNone/>
              <a:defRPr sz="1200" b="1">
                <a:solidFill>
                  <a:schemeClr val="tx2"/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6" name="Picture 25">
            <a:hlinkClick r:id="rId2"/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29164" y="3103659"/>
            <a:ext cx="384610" cy="384049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2594343" y="6637578"/>
            <a:ext cx="6953693" cy="1353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ocument Classification: KPMG Confidential</a:t>
            </a:r>
          </a:p>
        </p:txBody>
      </p:sp>
      <p:pic>
        <p:nvPicPr>
          <p:cNvPr id="12" name="Picture 11">
            <a:hlinkClick r:id="rId4"/>
            <a:extLst>
              <a:ext uri="{FF2B5EF4-FFF2-40B4-BE49-F238E27FC236}">
                <a16:creationId xmlns:a16="http://schemas.microsoft.com/office/drawing/2014/main" id="{E97E6A48-1FF8-435B-A8E1-67826AFFB4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7782" y="3103659"/>
            <a:ext cx="384610" cy="384049"/>
          </a:xfrm>
          <a:prstGeom prst="rect">
            <a:avLst/>
          </a:prstGeom>
        </p:spPr>
      </p:pic>
      <p:pic>
        <p:nvPicPr>
          <p:cNvPr id="17" name="Picture 16">
            <a:hlinkClick r:id="rId6"/>
            <a:extLst>
              <a:ext uri="{FF2B5EF4-FFF2-40B4-BE49-F238E27FC236}">
                <a16:creationId xmlns:a16="http://schemas.microsoft.com/office/drawing/2014/main" id="{770D5FC0-64D7-4763-878C-139B4958EB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26400" y="3103659"/>
            <a:ext cx="384610" cy="384049"/>
          </a:xfrm>
          <a:prstGeom prst="rect">
            <a:avLst/>
          </a:prstGeom>
        </p:spPr>
      </p:pic>
      <p:pic>
        <p:nvPicPr>
          <p:cNvPr id="18" name="Picture 17">
            <a:hlinkClick r:id="rId8"/>
            <a:extLst>
              <a:ext uri="{FF2B5EF4-FFF2-40B4-BE49-F238E27FC236}">
                <a16:creationId xmlns:a16="http://schemas.microsoft.com/office/drawing/2014/main" id="{84B87404-8FFC-41EB-814C-D732162D2C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75018" y="3103659"/>
            <a:ext cx="384610" cy="384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624797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5 - Singula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-2" y="0"/>
            <a:ext cx="12192002" cy="6858000"/>
            <a:chOff x="-2" y="0"/>
            <a:chExt cx="12192002" cy="6858000"/>
          </a:xfrm>
        </p:grpSpPr>
        <p:pic>
          <p:nvPicPr>
            <p:cNvPr id="15" name="Picture 14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5761" r="71901"/>
            <a:stretch/>
          </p:blipFill>
          <p:spPr>
            <a:xfrm flipH="1">
              <a:off x="-2" y="0"/>
              <a:ext cx="5053782" cy="6858000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5761"/>
            <a:stretch/>
          </p:blipFill>
          <p:spPr>
            <a:xfrm>
              <a:off x="5053781" y="0"/>
              <a:ext cx="7138219" cy="6858000"/>
            </a:xfrm>
            <a:prstGeom prst="rect">
              <a:avLst/>
            </a:prstGeom>
          </p:spPr>
        </p:pic>
      </p:grp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982349" y="1573628"/>
            <a:ext cx="7022748" cy="3510000"/>
          </a:xfrm>
        </p:spPr>
        <p:txBody>
          <a:bodyPr anchor="t" anchorCtr="0"/>
          <a:lstStyle>
            <a:lvl1pPr algn="l">
              <a:defRPr sz="11000" baseline="0">
                <a:solidFill>
                  <a:srgbClr val="00338D"/>
                </a:solidFill>
              </a:defRPr>
            </a:lvl1pPr>
          </a:lstStyle>
          <a:p>
            <a:r>
              <a:rPr lang="en-US"/>
              <a:t>Title slide 5</a:t>
            </a:r>
            <a:br>
              <a:rPr lang="en-US"/>
            </a:br>
            <a:r>
              <a:rPr lang="en-US"/>
              <a:t>singular </a:t>
            </a:r>
            <a:br>
              <a:rPr lang="en-US"/>
            </a:br>
            <a:r>
              <a:rPr lang="en-US"/>
              <a:t>imag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 bwMode="gray">
          <a:xfrm>
            <a:off x="1996549" y="5855495"/>
            <a:ext cx="6983148" cy="216000"/>
          </a:xfrm>
        </p:spPr>
        <p:txBody>
          <a:bodyPr anchor="b"/>
          <a:lstStyle>
            <a:lvl1pPr>
              <a:defRPr sz="1100">
                <a:solidFill>
                  <a:srgbClr val="00338D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2001649" y="0"/>
            <a:ext cx="1079150" cy="1623336"/>
            <a:chOff x="2001649" y="0"/>
            <a:chExt cx="1079150" cy="1623336"/>
          </a:xfrm>
        </p:grpSpPr>
        <p:sp>
          <p:nvSpPr>
            <p:cNvPr id="10" name="Freeform 19"/>
            <p:cNvSpPr>
              <a:spLocks noChangeAspect="1" noEditPoints="1"/>
            </p:cNvSpPr>
            <p:nvPr userDrawn="1"/>
          </p:nvSpPr>
          <p:spPr bwMode="gray">
            <a:xfrm>
              <a:off x="2001649" y="811668"/>
              <a:ext cx="1079150" cy="405834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solidFill>
              <a:srgbClr val="00338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11" name="Freeform 19"/>
            <p:cNvSpPr>
              <a:spLocks noChangeAspect="1" noEditPoints="1"/>
            </p:cNvSpPr>
            <p:nvPr userDrawn="1"/>
          </p:nvSpPr>
          <p:spPr bwMode="gray">
            <a:xfrm>
              <a:off x="2001649" y="405834"/>
              <a:ext cx="1079150" cy="405834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12" name="Freeform 19"/>
            <p:cNvSpPr>
              <a:spLocks noChangeAspect="1" noEditPoints="1"/>
            </p:cNvSpPr>
            <p:nvPr userDrawn="1"/>
          </p:nvSpPr>
          <p:spPr bwMode="gray">
            <a:xfrm>
              <a:off x="2001649" y="0"/>
              <a:ext cx="1079150" cy="405834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19" name="Freeform 19"/>
            <p:cNvSpPr>
              <a:spLocks noChangeAspect="1" noEditPoints="1"/>
            </p:cNvSpPr>
            <p:nvPr userDrawn="1"/>
          </p:nvSpPr>
          <p:spPr bwMode="gray">
            <a:xfrm>
              <a:off x="2001649" y="1217502"/>
              <a:ext cx="1079150" cy="405834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3980032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58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5 - Singula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-2" y="0"/>
            <a:ext cx="12192002" cy="6858000"/>
            <a:chOff x="-2" y="0"/>
            <a:chExt cx="12192002" cy="6858000"/>
          </a:xfrm>
        </p:grpSpPr>
        <p:pic>
          <p:nvPicPr>
            <p:cNvPr id="15" name="Picture 14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5761" r="71901"/>
            <a:stretch/>
          </p:blipFill>
          <p:spPr>
            <a:xfrm flipH="1">
              <a:off x="-2" y="0"/>
              <a:ext cx="5053782" cy="6858000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5761"/>
            <a:stretch/>
          </p:blipFill>
          <p:spPr>
            <a:xfrm>
              <a:off x="5053781" y="0"/>
              <a:ext cx="7138219" cy="6858000"/>
            </a:xfrm>
            <a:prstGeom prst="rect">
              <a:avLst/>
            </a:prstGeom>
          </p:spPr>
        </p:pic>
      </p:grp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982349" y="1573628"/>
            <a:ext cx="7022748" cy="3510000"/>
          </a:xfrm>
        </p:spPr>
        <p:txBody>
          <a:bodyPr anchor="t" anchorCtr="0"/>
          <a:lstStyle>
            <a:lvl1pPr algn="l">
              <a:defRPr sz="11000" baseline="0">
                <a:solidFill>
                  <a:srgbClr val="00338D"/>
                </a:solidFill>
              </a:defRPr>
            </a:lvl1pPr>
          </a:lstStyle>
          <a:p>
            <a:r>
              <a:rPr lang="en-US"/>
              <a:t>Title slide 5</a:t>
            </a:r>
            <a:br>
              <a:rPr lang="en-US"/>
            </a:br>
            <a:r>
              <a:rPr lang="en-US"/>
              <a:t>singular </a:t>
            </a:r>
            <a:br>
              <a:rPr lang="en-US"/>
            </a:br>
            <a:r>
              <a:rPr lang="en-US"/>
              <a:t>imag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 bwMode="gray">
          <a:xfrm>
            <a:off x="1996549" y="5855495"/>
            <a:ext cx="6983148" cy="216000"/>
          </a:xfrm>
        </p:spPr>
        <p:txBody>
          <a:bodyPr anchor="b"/>
          <a:lstStyle>
            <a:lvl1pPr>
              <a:defRPr sz="1100">
                <a:solidFill>
                  <a:srgbClr val="00338D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2001649" y="0"/>
            <a:ext cx="1079150" cy="1623336"/>
            <a:chOff x="2001649" y="0"/>
            <a:chExt cx="1079150" cy="1623336"/>
          </a:xfrm>
        </p:grpSpPr>
        <p:sp>
          <p:nvSpPr>
            <p:cNvPr id="10" name="Freeform 19"/>
            <p:cNvSpPr>
              <a:spLocks noChangeAspect="1" noEditPoints="1"/>
            </p:cNvSpPr>
            <p:nvPr userDrawn="1"/>
          </p:nvSpPr>
          <p:spPr bwMode="gray">
            <a:xfrm>
              <a:off x="2001649" y="811668"/>
              <a:ext cx="1079150" cy="405834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solidFill>
              <a:srgbClr val="00338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11" name="Freeform 19"/>
            <p:cNvSpPr>
              <a:spLocks noChangeAspect="1" noEditPoints="1"/>
            </p:cNvSpPr>
            <p:nvPr userDrawn="1"/>
          </p:nvSpPr>
          <p:spPr bwMode="gray">
            <a:xfrm>
              <a:off x="2001649" y="405834"/>
              <a:ext cx="1079150" cy="405834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12" name="Freeform 19"/>
            <p:cNvSpPr>
              <a:spLocks noChangeAspect="1" noEditPoints="1"/>
            </p:cNvSpPr>
            <p:nvPr userDrawn="1"/>
          </p:nvSpPr>
          <p:spPr bwMode="gray">
            <a:xfrm>
              <a:off x="2001649" y="0"/>
              <a:ext cx="1079150" cy="405834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19" name="Freeform 19"/>
            <p:cNvSpPr>
              <a:spLocks noChangeAspect="1" noEditPoints="1"/>
            </p:cNvSpPr>
            <p:nvPr userDrawn="1"/>
          </p:nvSpPr>
          <p:spPr bwMode="gray">
            <a:xfrm>
              <a:off x="2001649" y="1217502"/>
              <a:ext cx="1079150" cy="405834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2747244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58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3"/>
          <p:cNvSpPr/>
          <p:nvPr userDrawn="1"/>
        </p:nvSpPr>
        <p:spPr>
          <a:xfrm>
            <a:off x="0" y="1"/>
            <a:ext cx="1587731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>
            <a:noAutofit/>
          </a:bodyPr>
          <a:lstStyle/>
          <a:p>
            <a:endParaRPr sz="1800">
              <a:latin typeface="Arial" panose="020B0604020202020204" pitchFamily="34" charset="0"/>
            </a:endParaRP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2424363" y="3480007"/>
            <a:ext cx="2411738" cy="119064"/>
          </a:xfrm>
        </p:spPr>
        <p:txBody>
          <a:bodyPr/>
          <a:lstStyle>
            <a:lvl1pPr>
              <a:buFontTx/>
              <a:buNone/>
              <a:defRPr sz="1200" b="1">
                <a:solidFill>
                  <a:schemeClr val="tx2"/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2424363" y="2974450"/>
            <a:ext cx="2094546" cy="384049"/>
            <a:chOff x="1584001" y="2682350"/>
            <a:chExt cx="2094546" cy="384049"/>
          </a:xfrm>
        </p:grpSpPr>
        <p:pic>
          <p:nvPicPr>
            <p:cNvPr id="18" name="Picture 17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24335"/>
            <a:stretch/>
          </p:blipFill>
          <p:spPr>
            <a:xfrm>
              <a:off x="1584001" y="2682350"/>
              <a:ext cx="1273500" cy="384049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276023" y="2682350"/>
              <a:ext cx="402524" cy="384049"/>
            </a:xfrm>
            <a:prstGeom prst="rect">
              <a:avLst/>
            </a:prstGeom>
          </p:spPr>
        </p:pic>
        <p:grpSp>
          <p:nvGrpSpPr>
            <p:cNvPr id="20" name="Group 19"/>
            <p:cNvGrpSpPr/>
            <p:nvPr userDrawn="1"/>
          </p:nvGrpSpPr>
          <p:grpSpPr>
            <a:xfrm>
              <a:off x="2867305" y="2682351"/>
              <a:ext cx="383774" cy="383774"/>
              <a:chOff x="3296507" y="2682351"/>
              <a:chExt cx="383774" cy="383774"/>
            </a:xfrm>
          </p:grpSpPr>
          <p:sp>
            <p:nvSpPr>
              <p:cNvPr id="21" name="Freeform 5"/>
              <p:cNvSpPr>
                <a:spLocks noEditPoints="1"/>
              </p:cNvSpPr>
              <p:nvPr userDrawn="1"/>
            </p:nvSpPr>
            <p:spPr bwMode="auto">
              <a:xfrm>
                <a:off x="3296507" y="2682351"/>
                <a:ext cx="383774" cy="383774"/>
              </a:xfrm>
              <a:custGeom>
                <a:avLst/>
                <a:gdLst>
                  <a:gd name="T0" fmla="*/ 1008 w 2016"/>
                  <a:gd name="T1" fmla="*/ 182 h 2016"/>
                  <a:gd name="T2" fmla="*/ 1415 w 2016"/>
                  <a:gd name="T3" fmla="*/ 188 h 2016"/>
                  <a:gd name="T4" fmla="*/ 1602 w 2016"/>
                  <a:gd name="T5" fmla="*/ 222 h 2016"/>
                  <a:gd name="T6" fmla="*/ 1718 w 2016"/>
                  <a:gd name="T7" fmla="*/ 298 h 2016"/>
                  <a:gd name="T8" fmla="*/ 1794 w 2016"/>
                  <a:gd name="T9" fmla="*/ 414 h 2016"/>
                  <a:gd name="T10" fmla="*/ 1828 w 2016"/>
                  <a:gd name="T11" fmla="*/ 601 h 2016"/>
                  <a:gd name="T12" fmla="*/ 1834 w 2016"/>
                  <a:gd name="T13" fmla="*/ 1008 h 2016"/>
                  <a:gd name="T14" fmla="*/ 1828 w 2016"/>
                  <a:gd name="T15" fmla="*/ 1415 h 2016"/>
                  <a:gd name="T16" fmla="*/ 1794 w 2016"/>
                  <a:gd name="T17" fmla="*/ 1602 h 2016"/>
                  <a:gd name="T18" fmla="*/ 1718 w 2016"/>
                  <a:gd name="T19" fmla="*/ 1718 h 2016"/>
                  <a:gd name="T20" fmla="*/ 1602 w 2016"/>
                  <a:gd name="T21" fmla="*/ 1794 h 2016"/>
                  <a:gd name="T22" fmla="*/ 1415 w 2016"/>
                  <a:gd name="T23" fmla="*/ 1828 h 2016"/>
                  <a:gd name="T24" fmla="*/ 1008 w 2016"/>
                  <a:gd name="T25" fmla="*/ 1834 h 2016"/>
                  <a:gd name="T26" fmla="*/ 601 w 2016"/>
                  <a:gd name="T27" fmla="*/ 1828 h 2016"/>
                  <a:gd name="T28" fmla="*/ 414 w 2016"/>
                  <a:gd name="T29" fmla="*/ 1794 h 2016"/>
                  <a:gd name="T30" fmla="*/ 298 w 2016"/>
                  <a:gd name="T31" fmla="*/ 1718 h 2016"/>
                  <a:gd name="T32" fmla="*/ 222 w 2016"/>
                  <a:gd name="T33" fmla="*/ 1602 h 2016"/>
                  <a:gd name="T34" fmla="*/ 188 w 2016"/>
                  <a:gd name="T35" fmla="*/ 1415 h 2016"/>
                  <a:gd name="T36" fmla="*/ 182 w 2016"/>
                  <a:gd name="T37" fmla="*/ 1008 h 2016"/>
                  <a:gd name="T38" fmla="*/ 188 w 2016"/>
                  <a:gd name="T39" fmla="*/ 601 h 2016"/>
                  <a:gd name="T40" fmla="*/ 222 w 2016"/>
                  <a:gd name="T41" fmla="*/ 414 h 2016"/>
                  <a:gd name="T42" fmla="*/ 298 w 2016"/>
                  <a:gd name="T43" fmla="*/ 298 h 2016"/>
                  <a:gd name="T44" fmla="*/ 414 w 2016"/>
                  <a:gd name="T45" fmla="*/ 222 h 2016"/>
                  <a:gd name="T46" fmla="*/ 601 w 2016"/>
                  <a:gd name="T47" fmla="*/ 188 h 2016"/>
                  <a:gd name="T48" fmla="*/ 1008 w 2016"/>
                  <a:gd name="T49" fmla="*/ 182 h 2016"/>
                  <a:gd name="T50" fmla="*/ 1008 w 2016"/>
                  <a:gd name="T51" fmla="*/ 0 h 2016"/>
                  <a:gd name="T52" fmla="*/ 593 w 2016"/>
                  <a:gd name="T53" fmla="*/ 6 h 2016"/>
                  <a:gd name="T54" fmla="*/ 348 w 2016"/>
                  <a:gd name="T55" fmla="*/ 53 h 2016"/>
                  <a:gd name="T56" fmla="*/ 169 w 2016"/>
                  <a:gd name="T57" fmla="*/ 169 h 2016"/>
                  <a:gd name="T58" fmla="*/ 53 w 2016"/>
                  <a:gd name="T59" fmla="*/ 348 h 2016"/>
                  <a:gd name="T60" fmla="*/ 6 w 2016"/>
                  <a:gd name="T61" fmla="*/ 593 h 2016"/>
                  <a:gd name="T62" fmla="*/ 0 w 2016"/>
                  <a:gd name="T63" fmla="*/ 1008 h 2016"/>
                  <a:gd name="T64" fmla="*/ 6 w 2016"/>
                  <a:gd name="T65" fmla="*/ 1423 h 2016"/>
                  <a:gd name="T66" fmla="*/ 53 w 2016"/>
                  <a:gd name="T67" fmla="*/ 1668 h 2016"/>
                  <a:gd name="T68" fmla="*/ 169 w 2016"/>
                  <a:gd name="T69" fmla="*/ 1847 h 2016"/>
                  <a:gd name="T70" fmla="*/ 348 w 2016"/>
                  <a:gd name="T71" fmla="*/ 1963 h 2016"/>
                  <a:gd name="T72" fmla="*/ 593 w 2016"/>
                  <a:gd name="T73" fmla="*/ 2010 h 2016"/>
                  <a:gd name="T74" fmla="*/ 1008 w 2016"/>
                  <a:gd name="T75" fmla="*/ 2016 h 2016"/>
                  <a:gd name="T76" fmla="*/ 1423 w 2016"/>
                  <a:gd name="T77" fmla="*/ 2010 h 2016"/>
                  <a:gd name="T78" fmla="*/ 1668 w 2016"/>
                  <a:gd name="T79" fmla="*/ 1963 h 2016"/>
                  <a:gd name="T80" fmla="*/ 1847 w 2016"/>
                  <a:gd name="T81" fmla="*/ 1847 h 2016"/>
                  <a:gd name="T82" fmla="*/ 1963 w 2016"/>
                  <a:gd name="T83" fmla="*/ 1668 h 2016"/>
                  <a:gd name="T84" fmla="*/ 2010 w 2016"/>
                  <a:gd name="T85" fmla="*/ 1423 h 2016"/>
                  <a:gd name="T86" fmla="*/ 2016 w 2016"/>
                  <a:gd name="T87" fmla="*/ 1008 h 2016"/>
                  <a:gd name="T88" fmla="*/ 2010 w 2016"/>
                  <a:gd name="T89" fmla="*/ 593 h 2016"/>
                  <a:gd name="T90" fmla="*/ 1963 w 2016"/>
                  <a:gd name="T91" fmla="*/ 348 h 2016"/>
                  <a:gd name="T92" fmla="*/ 1847 w 2016"/>
                  <a:gd name="T93" fmla="*/ 169 h 2016"/>
                  <a:gd name="T94" fmla="*/ 1668 w 2016"/>
                  <a:gd name="T95" fmla="*/ 53 h 2016"/>
                  <a:gd name="T96" fmla="*/ 1423 w 2016"/>
                  <a:gd name="T97" fmla="*/ 6 h 2016"/>
                  <a:gd name="T98" fmla="*/ 1008 w 2016"/>
                  <a:gd name="T99" fmla="*/ 0 h 20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016" h="2016">
                    <a:moveTo>
                      <a:pt x="1008" y="182"/>
                    </a:moveTo>
                    <a:cubicBezTo>
                      <a:pt x="1277" y="182"/>
                      <a:pt x="1309" y="183"/>
                      <a:pt x="1415" y="188"/>
                    </a:cubicBezTo>
                    <a:cubicBezTo>
                      <a:pt x="1513" y="192"/>
                      <a:pt x="1567" y="209"/>
                      <a:pt x="1602" y="222"/>
                    </a:cubicBezTo>
                    <a:cubicBezTo>
                      <a:pt x="1649" y="241"/>
                      <a:pt x="1683" y="263"/>
                      <a:pt x="1718" y="298"/>
                    </a:cubicBezTo>
                    <a:cubicBezTo>
                      <a:pt x="1753" y="333"/>
                      <a:pt x="1775" y="367"/>
                      <a:pt x="1794" y="414"/>
                    </a:cubicBezTo>
                    <a:cubicBezTo>
                      <a:pt x="1807" y="449"/>
                      <a:pt x="1824" y="503"/>
                      <a:pt x="1828" y="601"/>
                    </a:cubicBezTo>
                    <a:cubicBezTo>
                      <a:pt x="1833" y="707"/>
                      <a:pt x="1834" y="739"/>
                      <a:pt x="1834" y="1008"/>
                    </a:cubicBezTo>
                    <a:cubicBezTo>
                      <a:pt x="1834" y="1277"/>
                      <a:pt x="1833" y="1309"/>
                      <a:pt x="1828" y="1415"/>
                    </a:cubicBezTo>
                    <a:cubicBezTo>
                      <a:pt x="1824" y="1513"/>
                      <a:pt x="1807" y="1567"/>
                      <a:pt x="1794" y="1602"/>
                    </a:cubicBezTo>
                    <a:cubicBezTo>
                      <a:pt x="1775" y="1649"/>
                      <a:pt x="1753" y="1683"/>
                      <a:pt x="1718" y="1718"/>
                    </a:cubicBezTo>
                    <a:cubicBezTo>
                      <a:pt x="1683" y="1753"/>
                      <a:pt x="1649" y="1775"/>
                      <a:pt x="1602" y="1794"/>
                    </a:cubicBezTo>
                    <a:cubicBezTo>
                      <a:pt x="1567" y="1807"/>
                      <a:pt x="1513" y="1824"/>
                      <a:pt x="1415" y="1828"/>
                    </a:cubicBezTo>
                    <a:cubicBezTo>
                      <a:pt x="1309" y="1833"/>
                      <a:pt x="1277" y="1834"/>
                      <a:pt x="1008" y="1834"/>
                    </a:cubicBezTo>
                    <a:cubicBezTo>
                      <a:pt x="739" y="1834"/>
                      <a:pt x="707" y="1833"/>
                      <a:pt x="601" y="1828"/>
                    </a:cubicBezTo>
                    <a:cubicBezTo>
                      <a:pt x="503" y="1824"/>
                      <a:pt x="449" y="1807"/>
                      <a:pt x="414" y="1794"/>
                    </a:cubicBezTo>
                    <a:cubicBezTo>
                      <a:pt x="367" y="1775"/>
                      <a:pt x="333" y="1753"/>
                      <a:pt x="298" y="1718"/>
                    </a:cubicBezTo>
                    <a:cubicBezTo>
                      <a:pt x="263" y="1683"/>
                      <a:pt x="241" y="1649"/>
                      <a:pt x="222" y="1602"/>
                    </a:cubicBezTo>
                    <a:cubicBezTo>
                      <a:pt x="209" y="1567"/>
                      <a:pt x="192" y="1513"/>
                      <a:pt x="188" y="1415"/>
                    </a:cubicBezTo>
                    <a:cubicBezTo>
                      <a:pt x="183" y="1309"/>
                      <a:pt x="182" y="1277"/>
                      <a:pt x="182" y="1008"/>
                    </a:cubicBezTo>
                    <a:cubicBezTo>
                      <a:pt x="182" y="739"/>
                      <a:pt x="183" y="707"/>
                      <a:pt x="188" y="601"/>
                    </a:cubicBezTo>
                    <a:cubicBezTo>
                      <a:pt x="192" y="503"/>
                      <a:pt x="209" y="449"/>
                      <a:pt x="222" y="414"/>
                    </a:cubicBezTo>
                    <a:cubicBezTo>
                      <a:pt x="241" y="367"/>
                      <a:pt x="263" y="333"/>
                      <a:pt x="298" y="298"/>
                    </a:cubicBezTo>
                    <a:cubicBezTo>
                      <a:pt x="333" y="263"/>
                      <a:pt x="367" y="241"/>
                      <a:pt x="414" y="222"/>
                    </a:cubicBezTo>
                    <a:cubicBezTo>
                      <a:pt x="449" y="209"/>
                      <a:pt x="503" y="192"/>
                      <a:pt x="601" y="188"/>
                    </a:cubicBezTo>
                    <a:cubicBezTo>
                      <a:pt x="707" y="183"/>
                      <a:pt x="739" y="182"/>
                      <a:pt x="1008" y="182"/>
                    </a:cubicBezTo>
                    <a:moveTo>
                      <a:pt x="1008" y="0"/>
                    </a:moveTo>
                    <a:cubicBezTo>
                      <a:pt x="734" y="0"/>
                      <a:pt x="700" y="1"/>
                      <a:pt x="593" y="6"/>
                    </a:cubicBezTo>
                    <a:cubicBezTo>
                      <a:pt x="485" y="11"/>
                      <a:pt x="412" y="28"/>
                      <a:pt x="348" y="53"/>
                    </a:cubicBezTo>
                    <a:cubicBezTo>
                      <a:pt x="282" y="79"/>
                      <a:pt x="225" y="113"/>
                      <a:pt x="169" y="169"/>
                    </a:cubicBezTo>
                    <a:cubicBezTo>
                      <a:pt x="113" y="225"/>
                      <a:pt x="79" y="282"/>
                      <a:pt x="53" y="348"/>
                    </a:cubicBezTo>
                    <a:cubicBezTo>
                      <a:pt x="28" y="412"/>
                      <a:pt x="11" y="485"/>
                      <a:pt x="6" y="593"/>
                    </a:cubicBezTo>
                    <a:cubicBezTo>
                      <a:pt x="1" y="700"/>
                      <a:pt x="0" y="734"/>
                      <a:pt x="0" y="1008"/>
                    </a:cubicBezTo>
                    <a:cubicBezTo>
                      <a:pt x="0" y="1282"/>
                      <a:pt x="1" y="1316"/>
                      <a:pt x="6" y="1423"/>
                    </a:cubicBezTo>
                    <a:cubicBezTo>
                      <a:pt x="11" y="1531"/>
                      <a:pt x="28" y="1604"/>
                      <a:pt x="53" y="1668"/>
                    </a:cubicBezTo>
                    <a:cubicBezTo>
                      <a:pt x="79" y="1734"/>
                      <a:pt x="113" y="1791"/>
                      <a:pt x="169" y="1847"/>
                    </a:cubicBezTo>
                    <a:cubicBezTo>
                      <a:pt x="225" y="1903"/>
                      <a:pt x="282" y="1937"/>
                      <a:pt x="348" y="1963"/>
                    </a:cubicBezTo>
                    <a:cubicBezTo>
                      <a:pt x="412" y="1988"/>
                      <a:pt x="485" y="2005"/>
                      <a:pt x="593" y="2010"/>
                    </a:cubicBezTo>
                    <a:cubicBezTo>
                      <a:pt x="700" y="2015"/>
                      <a:pt x="734" y="2016"/>
                      <a:pt x="1008" y="2016"/>
                    </a:cubicBezTo>
                    <a:cubicBezTo>
                      <a:pt x="1282" y="2016"/>
                      <a:pt x="1316" y="2015"/>
                      <a:pt x="1423" y="2010"/>
                    </a:cubicBezTo>
                    <a:cubicBezTo>
                      <a:pt x="1531" y="2005"/>
                      <a:pt x="1604" y="1988"/>
                      <a:pt x="1668" y="1963"/>
                    </a:cubicBezTo>
                    <a:cubicBezTo>
                      <a:pt x="1734" y="1937"/>
                      <a:pt x="1791" y="1903"/>
                      <a:pt x="1847" y="1847"/>
                    </a:cubicBezTo>
                    <a:cubicBezTo>
                      <a:pt x="1903" y="1791"/>
                      <a:pt x="1937" y="1734"/>
                      <a:pt x="1963" y="1668"/>
                    </a:cubicBezTo>
                    <a:cubicBezTo>
                      <a:pt x="1988" y="1604"/>
                      <a:pt x="2005" y="1531"/>
                      <a:pt x="2010" y="1423"/>
                    </a:cubicBezTo>
                    <a:cubicBezTo>
                      <a:pt x="2015" y="1316"/>
                      <a:pt x="2016" y="1282"/>
                      <a:pt x="2016" y="1008"/>
                    </a:cubicBezTo>
                    <a:cubicBezTo>
                      <a:pt x="2016" y="734"/>
                      <a:pt x="2015" y="700"/>
                      <a:pt x="2010" y="593"/>
                    </a:cubicBezTo>
                    <a:cubicBezTo>
                      <a:pt x="2005" y="485"/>
                      <a:pt x="1988" y="412"/>
                      <a:pt x="1963" y="348"/>
                    </a:cubicBezTo>
                    <a:cubicBezTo>
                      <a:pt x="1937" y="282"/>
                      <a:pt x="1903" y="225"/>
                      <a:pt x="1847" y="169"/>
                    </a:cubicBezTo>
                    <a:cubicBezTo>
                      <a:pt x="1791" y="113"/>
                      <a:pt x="1734" y="79"/>
                      <a:pt x="1668" y="53"/>
                    </a:cubicBezTo>
                    <a:cubicBezTo>
                      <a:pt x="1604" y="28"/>
                      <a:pt x="1531" y="11"/>
                      <a:pt x="1423" y="6"/>
                    </a:cubicBezTo>
                    <a:cubicBezTo>
                      <a:pt x="1316" y="1"/>
                      <a:pt x="1282" y="0"/>
                      <a:pt x="1008" y="0"/>
                    </a:cubicBezTo>
                    <a:close/>
                  </a:path>
                </a:pathLst>
              </a:custGeom>
              <a:solidFill>
                <a:srgbClr val="0033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6"/>
              <p:cNvSpPr>
                <a:spLocks noEditPoints="1"/>
              </p:cNvSpPr>
              <p:nvPr userDrawn="1"/>
            </p:nvSpPr>
            <p:spPr bwMode="auto">
              <a:xfrm>
                <a:off x="3389916" y="2775760"/>
                <a:ext cx="196875" cy="196875"/>
              </a:xfrm>
              <a:custGeom>
                <a:avLst/>
                <a:gdLst>
                  <a:gd name="T0" fmla="*/ 517 w 1034"/>
                  <a:gd name="T1" fmla="*/ 0 h 1034"/>
                  <a:gd name="T2" fmla="*/ 0 w 1034"/>
                  <a:gd name="T3" fmla="*/ 517 h 1034"/>
                  <a:gd name="T4" fmla="*/ 517 w 1034"/>
                  <a:gd name="T5" fmla="*/ 1034 h 1034"/>
                  <a:gd name="T6" fmla="*/ 1034 w 1034"/>
                  <a:gd name="T7" fmla="*/ 517 h 1034"/>
                  <a:gd name="T8" fmla="*/ 517 w 1034"/>
                  <a:gd name="T9" fmla="*/ 0 h 1034"/>
                  <a:gd name="T10" fmla="*/ 517 w 1034"/>
                  <a:gd name="T11" fmla="*/ 853 h 1034"/>
                  <a:gd name="T12" fmla="*/ 181 w 1034"/>
                  <a:gd name="T13" fmla="*/ 517 h 1034"/>
                  <a:gd name="T14" fmla="*/ 517 w 1034"/>
                  <a:gd name="T15" fmla="*/ 181 h 1034"/>
                  <a:gd name="T16" fmla="*/ 853 w 1034"/>
                  <a:gd name="T17" fmla="*/ 517 h 1034"/>
                  <a:gd name="T18" fmla="*/ 517 w 1034"/>
                  <a:gd name="T19" fmla="*/ 853 h 10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34" h="1034">
                    <a:moveTo>
                      <a:pt x="517" y="0"/>
                    </a:moveTo>
                    <a:cubicBezTo>
                      <a:pt x="231" y="0"/>
                      <a:pt x="0" y="231"/>
                      <a:pt x="0" y="517"/>
                    </a:cubicBezTo>
                    <a:cubicBezTo>
                      <a:pt x="0" y="803"/>
                      <a:pt x="231" y="1034"/>
                      <a:pt x="517" y="1034"/>
                    </a:cubicBezTo>
                    <a:cubicBezTo>
                      <a:pt x="803" y="1034"/>
                      <a:pt x="1034" y="803"/>
                      <a:pt x="1034" y="517"/>
                    </a:cubicBezTo>
                    <a:cubicBezTo>
                      <a:pt x="1034" y="231"/>
                      <a:pt x="803" y="0"/>
                      <a:pt x="517" y="0"/>
                    </a:cubicBezTo>
                    <a:close/>
                    <a:moveTo>
                      <a:pt x="517" y="853"/>
                    </a:moveTo>
                    <a:cubicBezTo>
                      <a:pt x="331" y="853"/>
                      <a:pt x="181" y="703"/>
                      <a:pt x="181" y="517"/>
                    </a:cubicBezTo>
                    <a:cubicBezTo>
                      <a:pt x="181" y="331"/>
                      <a:pt x="331" y="181"/>
                      <a:pt x="517" y="181"/>
                    </a:cubicBezTo>
                    <a:cubicBezTo>
                      <a:pt x="703" y="181"/>
                      <a:pt x="853" y="331"/>
                      <a:pt x="853" y="517"/>
                    </a:cubicBezTo>
                    <a:cubicBezTo>
                      <a:pt x="853" y="703"/>
                      <a:pt x="703" y="853"/>
                      <a:pt x="517" y="853"/>
                    </a:cubicBezTo>
                    <a:close/>
                  </a:path>
                </a:pathLst>
              </a:custGeom>
              <a:solidFill>
                <a:srgbClr val="0033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Oval 7"/>
              <p:cNvSpPr>
                <a:spLocks noChangeArrowheads="1"/>
              </p:cNvSpPr>
              <p:nvPr userDrawn="1"/>
            </p:nvSpPr>
            <p:spPr bwMode="auto">
              <a:xfrm>
                <a:off x="3567723" y="2748727"/>
                <a:ext cx="46101" cy="46101"/>
              </a:xfrm>
              <a:prstGeom prst="ellipse">
                <a:avLst/>
              </a:prstGeom>
              <a:solidFill>
                <a:srgbClr val="0033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424363" y="3831758"/>
            <a:ext cx="7851751" cy="645650"/>
          </a:xfrm>
        </p:spPr>
        <p:txBody>
          <a:bodyPr/>
          <a:lstStyle>
            <a:lvl1pPr>
              <a:buFontTx/>
              <a:buNone/>
              <a:defRPr sz="1100" b="0">
                <a:solidFill>
                  <a:schemeClr val="bg1">
                    <a:lumMod val="65000"/>
                  </a:schemeClr>
                </a:solidFill>
              </a:defRPr>
            </a:lvl1pPr>
            <a:lvl2pPr>
              <a:buFontTx/>
              <a:buNone/>
              <a:defRPr sz="11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2424363" y="4564855"/>
            <a:ext cx="7851751" cy="480111"/>
          </a:xfrm>
        </p:spPr>
        <p:txBody>
          <a:bodyPr/>
          <a:lstStyle>
            <a:lvl1pPr>
              <a:buFontTx/>
              <a:buNone/>
              <a:defRPr sz="1100" b="0">
                <a:solidFill>
                  <a:schemeClr val="bg1">
                    <a:lumMod val="65000"/>
                  </a:schemeClr>
                </a:solidFill>
              </a:defRPr>
            </a:lvl1pPr>
            <a:lvl2pPr>
              <a:buFontTx/>
              <a:buNone/>
              <a:defRPr sz="11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2424363" y="5132413"/>
            <a:ext cx="7851751" cy="480111"/>
          </a:xfrm>
        </p:spPr>
        <p:txBody>
          <a:bodyPr/>
          <a:lstStyle>
            <a:lvl1pPr>
              <a:buFontTx/>
              <a:buNone/>
              <a:defRPr sz="1100" b="0">
                <a:solidFill>
                  <a:schemeClr val="bg1">
                    <a:lumMod val="65000"/>
                  </a:schemeClr>
                </a:solidFill>
              </a:defRPr>
            </a:lvl1pPr>
            <a:lvl2pPr>
              <a:buFontTx/>
              <a:buNone/>
              <a:defRPr sz="11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24" name="Freeform 19"/>
          <p:cNvSpPr>
            <a:spLocks noEditPoints="1"/>
          </p:cNvSpPr>
          <p:nvPr userDrawn="1"/>
        </p:nvSpPr>
        <p:spPr bwMode="auto">
          <a:xfrm>
            <a:off x="2424363" y="524433"/>
            <a:ext cx="1080816" cy="439654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6545303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1 - Right light vertica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936" t="27247" r="107" b="9172"/>
          <a:stretch/>
        </p:blipFill>
        <p:spPr>
          <a:xfrm>
            <a:off x="0" y="-1"/>
            <a:ext cx="12192000" cy="6858001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69600" y="1364139"/>
            <a:ext cx="6853600" cy="3510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60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noProof="0"/>
              <a:t>Title Slide 1 – </a:t>
            </a:r>
            <a:br>
              <a:rPr lang="en-US" noProof="0"/>
            </a:br>
            <a:r>
              <a:rPr lang="en-US" noProof="0"/>
              <a:t>light right vertical imag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969600" y="5036400"/>
            <a:ext cx="8217600" cy="216000"/>
          </a:xfrm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r>
              <a:rPr lang="en-US"/>
              <a:t>Subtitle her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969601" y="5502276"/>
            <a:ext cx="2518833" cy="487363"/>
          </a:xfrm>
        </p:spPr>
        <p:txBody>
          <a:bodyPr/>
          <a:lstStyle>
            <a:lvl1pPr>
              <a:defRPr sz="1100" b="0">
                <a:solidFill>
                  <a:srgbClr val="00338D"/>
                </a:solidFill>
              </a:defRPr>
            </a:lvl1pPr>
          </a:lstStyle>
          <a:p>
            <a:pPr lvl="0"/>
            <a:r>
              <a:rPr lang="en-US"/>
              <a:t>Date here</a:t>
            </a:r>
          </a:p>
        </p:txBody>
      </p:sp>
      <p:sp>
        <p:nvSpPr>
          <p:cNvPr id="9" name="Freeform 19">
            <a:extLst>
              <a:ext uri="{FF2B5EF4-FFF2-40B4-BE49-F238E27FC236}">
                <a16:creationId xmlns:a16="http://schemas.microsoft.com/office/drawing/2014/main" id="{309D4511-61BB-4DC5-8867-C4A2BB2BFCB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69600" y="462242"/>
            <a:ext cx="1079150" cy="439654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71822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42E747-4518-0ABC-B616-09254CD178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3B1E0CA-EED4-973B-E8C5-B632E61DF4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AC536DF-BC18-DD22-9C7E-F9B9F5F3F12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FA57A0E-6833-29C4-9197-FF8D200E69A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5ED50DA-4048-74AF-F96F-CAE679A5823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C31D693-01B6-03FC-07DA-C01A09231B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7E6D97-487D-AD47-8455-7B7D665C36DB}" type="datetimeFigureOut">
              <a:rPr lang="en-US" smtClean="0"/>
              <a:t>8/3/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E37C4A7-2D3A-CBD4-606A-09B8386F51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2E725FF-50DB-1237-84BD-4203302995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15AB53-134F-024A-AB7F-8166F4DC37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084051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4 - No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3"/>
          <p:cNvSpPr/>
          <p:nvPr userDrawn="1"/>
        </p:nvSpPr>
        <p:spPr>
          <a:xfrm>
            <a:off x="0" y="1"/>
            <a:ext cx="1587731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>
            <a:noAutofit/>
          </a:bodyPr>
          <a:lstStyle/>
          <a:p>
            <a:endParaRPr sz="1800">
              <a:latin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424363" y="1360483"/>
            <a:ext cx="8489950" cy="3510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600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noProof="0"/>
              <a:t>Title Slide 4 – </a:t>
            </a:r>
            <a:br>
              <a:rPr lang="en-US" noProof="0"/>
            </a:br>
            <a:r>
              <a:rPr lang="en-US" noProof="0"/>
              <a:t>no image</a:t>
            </a:r>
          </a:p>
        </p:txBody>
      </p:sp>
      <p:sp>
        <p:nvSpPr>
          <p:cNvPr id="10" name="Freeform 19"/>
          <p:cNvSpPr>
            <a:spLocks noChangeAspect="1" noEditPoints="1"/>
          </p:cNvSpPr>
          <p:nvPr userDrawn="1"/>
        </p:nvSpPr>
        <p:spPr bwMode="auto">
          <a:xfrm>
            <a:off x="2424363" y="524433"/>
            <a:ext cx="1079150" cy="439654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>
              <a:latin typeface="Arial" panose="020B0604020202020204" pitchFamily="34" charset="0"/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424363" y="5316083"/>
            <a:ext cx="8450350" cy="216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ubtitle her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424363" y="5748733"/>
            <a:ext cx="1889125" cy="487363"/>
          </a:xfrm>
        </p:spPr>
        <p:txBody>
          <a:bodyPr/>
          <a:lstStyle>
            <a:lvl1pPr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 here</a:t>
            </a:r>
          </a:p>
        </p:txBody>
      </p:sp>
    </p:spTree>
    <p:extLst>
      <p:ext uri="{BB962C8B-B14F-4D97-AF65-F5344CB8AC3E}">
        <p14:creationId xmlns:p14="http://schemas.microsoft.com/office/powerpoint/2010/main" val="16873031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B6DD83-8C8A-6203-0010-F6D379C439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282C7FE-627B-9958-1595-8910C94A79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7E6D97-487D-AD47-8455-7B7D665C36DB}" type="datetimeFigureOut">
              <a:rPr lang="en-US" smtClean="0"/>
              <a:t>8/3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692ED23-B203-2DF0-36E7-26F560FC60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86714C0-C00B-07D7-3EA6-DBCB40E331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15AB53-134F-024A-AB7F-8166F4DC37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26595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AE30C83-7574-8AE0-10FC-E88C81BDFE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7E6D97-487D-AD47-8455-7B7D665C36DB}" type="datetimeFigureOut">
              <a:rPr lang="en-US" smtClean="0"/>
              <a:t>8/3/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FC231A1-7037-8DA8-44AB-3FF81B3DE5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2FE871-B11F-EB37-5019-963F88CC39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15AB53-134F-024A-AB7F-8166F4DC37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69495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A6B777-BBB4-00F4-411E-0C6834ECE8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FDA8E2-B031-AC46-1121-E987DD5850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BBCD80C-8ADC-FC71-12A3-F730DC70F6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929E80-EA4D-F3D2-1B07-1B2F6D2C61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7E6D97-487D-AD47-8455-7B7D665C36DB}" type="datetimeFigureOut">
              <a:rPr lang="en-US" smtClean="0"/>
              <a:t>8/3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3C8D8A2-D8A1-2AC7-2DF3-D40A3F3364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704F307-3E3C-CFF2-70FD-A267D6BEEC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15AB53-134F-024A-AB7F-8166F4DC37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79828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FEDCA9-42EF-5F7F-3933-F22F3FD1C9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22F86C1-9AAA-69AD-6048-15431DDB76C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CFE7E4-A9A0-FE74-5A51-7FABDAA3632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56D36E3-18D1-2217-A4FC-3B5D209B4C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7E6D97-487D-AD47-8455-7B7D665C36DB}" type="datetimeFigureOut">
              <a:rPr lang="en-US" smtClean="0"/>
              <a:t>8/3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9BC4AAD-E092-6AFA-BC65-CD9DC3FF79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DA79DC1-6FF1-FAA6-91CD-32BAE42C0C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15AB53-134F-024A-AB7F-8166F4DC37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51789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5.xml"/><Relationship Id="rId9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26" Type="http://schemas.openxmlformats.org/officeDocument/2006/relationships/slideLayout" Target="../slideLayouts/slideLayout42.xml"/><Relationship Id="rId3" Type="http://schemas.openxmlformats.org/officeDocument/2006/relationships/slideLayout" Target="../slideLayouts/slideLayout19.xml"/><Relationship Id="rId21" Type="http://schemas.openxmlformats.org/officeDocument/2006/relationships/slideLayout" Target="../slideLayouts/slideLayout37.xml"/><Relationship Id="rId34" Type="http://schemas.openxmlformats.org/officeDocument/2006/relationships/slideLayout" Target="../slideLayouts/slideLayout50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5" Type="http://schemas.openxmlformats.org/officeDocument/2006/relationships/slideLayout" Target="../slideLayouts/slideLayout41.xml"/><Relationship Id="rId33" Type="http://schemas.openxmlformats.org/officeDocument/2006/relationships/slideLayout" Target="../slideLayouts/slideLayout49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slideLayout" Target="../slideLayouts/slideLayout36.xml"/><Relationship Id="rId29" Type="http://schemas.openxmlformats.org/officeDocument/2006/relationships/slideLayout" Target="../slideLayouts/slideLayout45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24" Type="http://schemas.openxmlformats.org/officeDocument/2006/relationships/slideLayout" Target="../slideLayouts/slideLayout40.xml"/><Relationship Id="rId32" Type="http://schemas.openxmlformats.org/officeDocument/2006/relationships/slideLayout" Target="../slideLayouts/slideLayout48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23" Type="http://schemas.openxmlformats.org/officeDocument/2006/relationships/slideLayout" Target="../slideLayouts/slideLayout39.xml"/><Relationship Id="rId28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26.xml"/><Relationship Id="rId19" Type="http://schemas.openxmlformats.org/officeDocument/2006/relationships/slideLayout" Target="../slideLayouts/slideLayout35.xml"/><Relationship Id="rId31" Type="http://schemas.openxmlformats.org/officeDocument/2006/relationships/slideLayout" Target="../slideLayouts/slideLayout47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slideLayout" Target="../slideLayouts/slideLayout38.xml"/><Relationship Id="rId27" Type="http://schemas.openxmlformats.org/officeDocument/2006/relationships/slideLayout" Target="../slideLayouts/slideLayout43.xml"/><Relationship Id="rId30" Type="http://schemas.openxmlformats.org/officeDocument/2006/relationships/slideLayout" Target="../slideLayouts/slideLayout46.xml"/><Relationship Id="rId35" Type="http://schemas.openxmlformats.org/officeDocument/2006/relationships/theme" Target="../theme/theme3.xml"/><Relationship Id="rId8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5102581-26E7-46A1-BB27-5A2978CC15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22A9CA-5195-5C2E-DC10-8FDAB087EC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0EB22C-37CE-F3C5-60C9-61DB10E220D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7E6D97-487D-AD47-8455-7B7D665C36DB}" type="datetimeFigureOut">
              <a:rPr lang="en-US" smtClean="0"/>
              <a:t>8/3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E3FE61-F1DA-BC26-1D87-A4A05B48DF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9E0DC8-91DD-DD89-B584-7E06ACCCED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15AB53-134F-024A-AB7F-8166F4DC37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10432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100000">
              <a:schemeClr val="bg1">
                <a:lumMod val="85000"/>
              </a:schemeClr>
            </a:gs>
            <a:gs pos="34000">
              <a:schemeClr val="bg1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214AF9E-1AB6-43B4-B8FE-F4DB816A4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457816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0" imgH="469" progId="TCLayout.ActiveDocument.1">
                  <p:embed/>
                </p:oleObj>
              </mc:Choice>
              <mc:Fallback>
                <p:oleObj name="think-cell Slide" r:id="rId9" imgW="470" imgH="46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214AF9E-1AB6-43B4-B8FE-F4DB816A4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88578A4-EA29-4CEA-AEF5-F2F94A51CDC2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Univers for BP Light" panose="020B0403020202020204" pitchFamily="34" charset="0"/>
              <a:ea typeface="+mj-ea"/>
              <a:cs typeface="+mj-cs"/>
              <a:sym typeface="Univers for BP Light" panose="020B0403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89B0CFF-392D-4EA6-BB15-CE26E70E25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1228" y="569431"/>
            <a:ext cx="9684372" cy="39749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AA7AD1-71FE-4D26-B11C-7361C2320B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0392" y="1647732"/>
            <a:ext cx="9684372" cy="415775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First text level</a:t>
            </a:r>
          </a:p>
          <a:p>
            <a:pPr lvl="1"/>
            <a:r>
              <a:rPr lang="en-US"/>
              <a:t>First bullet level</a:t>
            </a:r>
          </a:p>
          <a:p>
            <a:pPr lvl="2"/>
            <a:r>
              <a:rPr lang="en-US"/>
              <a:t>Second bullet level</a:t>
            </a:r>
          </a:p>
          <a:p>
            <a:pPr lvl="3"/>
            <a:r>
              <a:rPr lang="en-US"/>
              <a:t>Third bullet level</a:t>
            </a:r>
          </a:p>
          <a:p>
            <a:pPr lvl="4"/>
            <a:r>
              <a:rPr lang="en-US"/>
              <a:t>Fourth bullet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73B964-77F7-44E8-8348-58E8FD8D13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8392" y="6485175"/>
            <a:ext cx="937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 dirty="0"/>
              <a:t>Reinventing bp | January 2022 |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BDD095-6FCE-4C9D-B393-AAEE30F170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0392" y="6485175"/>
            <a:ext cx="367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D1F4323-79E7-4B0A-8BF1-020DD8438F7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66659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47675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63575" indent="-17145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928688" indent="-17145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02">
          <p15:clr>
            <a:srgbClr val="F26B43"/>
          </p15:clr>
        </p15:guide>
        <p15:guide id="4" pos="6403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4065">
          <p15:clr>
            <a:srgbClr val="F26B43"/>
          </p15:clr>
        </p15:guide>
        <p15:guide id="7" orient="horz" pos="622">
          <p15:clr>
            <a:srgbClr val="F26B43"/>
          </p15:clr>
        </p15:guide>
        <p15:guide id="8" orient="horz" pos="3657">
          <p15:clr>
            <a:srgbClr val="F26B43"/>
          </p15:clr>
        </p15:guide>
        <p15:guide id="9" pos="737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98400" y="431800"/>
            <a:ext cx="10195200" cy="533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03201" y="1331360"/>
            <a:ext cx="10194470" cy="45455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0739438" y="6266997"/>
            <a:ext cx="449655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00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30" name="TextBox 29"/>
          <p:cNvSpPr txBox="1"/>
          <p:nvPr userDrawn="1"/>
        </p:nvSpPr>
        <p:spPr>
          <a:xfrm>
            <a:off x="2234934" y="6266997"/>
            <a:ext cx="7756800" cy="370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© 2022 KPMG LLP, a Delaware limited liability partnership and the U.S. member firm of the KPMG network of independent member firms affiliated with KPMG International Cooperative (“KPMG International”), a Swiss entity. All rights reserved.</a:t>
            </a:r>
          </a:p>
        </p:txBody>
      </p:sp>
      <p:sp>
        <p:nvSpPr>
          <p:cNvPr id="26" name="Freeform 19"/>
          <p:cNvSpPr>
            <a:spLocks noEditPoints="1"/>
          </p:cNvSpPr>
          <p:nvPr userDrawn="1"/>
        </p:nvSpPr>
        <p:spPr bwMode="auto">
          <a:xfrm>
            <a:off x="1003201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17104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  <p:sldLayoutId id="2147483680" r:id="rId14"/>
    <p:sldLayoutId id="2147483681" r:id="rId15"/>
    <p:sldLayoutId id="2147483682" r:id="rId16"/>
    <p:sldLayoutId id="2147483683" r:id="rId17"/>
    <p:sldLayoutId id="2147483684" r:id="rId18"/>
    <p:sldLayoutId id="2147483685" r:id="rId19"/>
    <p:sldLayoutId id="2147483686" r:id="rId20"/>
    <p:sldLayoutId id="2147483687" r:id="rId21"/>
    <p:sldLayoutId id="2147483688" r:id="rId22"/>
    <p:sldLayoutId id="2147483689" r:id="rId23"/>
    <p:sldLayoutId id="2147483690" r:id="rId24"/>
    <p:sldLayoutId id="2147483691" r:id="rId25"/>
    <p:sldLayoutId id="2147483692" r:id="rId26"/>
    <p:sldLayoutId id="2147483693" r:id="rId27"/>
    <p:sldLayoutId id="2147483694" r:id="rId28"/>
    <p:sldLayoutId id="2147483695" r:id="rId29"/>
    <p:sldLayoutId id="2147483696" r:id="rId30"/>
    <p:sldLayoutId id="2147483697" r:id="rId31"/>
    <p:sldLayoutId id="2147483698" r:id="rId32"/>
    <p:sldLayoutId id="2147483699" r:id="rId33"/>
    <p:sldLayoutId id="2147483700" r:id="rId34"/>
  </p:sldLayoutIdLst>
  <p:txStyles>
    <p:titleStyle>
      <a:lvl1pPr algn="l" defTabSz="914400" rtl="0" eaLnBrk="1" latinLnBrk="0" hangingPunct="1">
        <a:lnSpc>
          <a:spcPct val="70000"/>
        </a:lnSpc>
        <a:spcBef>
          <a:spcPct val="0"/>
        </a:spcBef>
        <a:buNone/>
        <a:defRPr sz="5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5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500" kern="1200">
          <a:solidFill>
            <a:schemeClr val="tx2"/>
          </a:solidFill>
          <a:latin typeface="+mn-lt"/>
          <a:ea typeface="+mn-ea"/>
          <a:cs typeface="+mn-cs"/>
        </a:defRPr>
      </a:lvl2pPr>
      <a:lvl3pPr marL="288000" indent="-28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500" kern="1200">
          <a:solidFill>
            <a:schemeClr val="tx2"/>
          </a:solidFill>
          <a:latin typeface="+mn-lt"/>
          <a:ea typeface="+mn-ea"/>
          <a:cs typeface="+mn-cs"/>
        </a:defRPr>
      </a:lvl3pPr>
      <a:lvl4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4pPr>
      <a:lvl5pPr marL="720000" indent="-28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6pPr>
      <a:lvl7pPr marL="1152000" indent="-28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500" kern="1200">
          <a:solidFill>
            <a:schemeClr val="tx2"/>
          </a:solidFill>
          <a:latin typeface="+mn-lt"/>
          <a:ea typeface="+mn-ea"/>
          <a:cs typeface="+mn-cs"/>
        </a:defRPr>
      </a:lvl7pPr>
      <a:lvl8pPr marL="1296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02">
          <p15:clr>
            <a:srgbClr val="F26B43"/>
          </p15:clr>
        </p15:guide>
        <p15:guide id="2" pos="627">
          <p15:clr>
            <a:srgbClr val="F26B43"/>
          </p15:clr>
        </p15:guide>
        <p15:guide id="3" pos="7055">
          <p15:clr>
            <a:srgbClr val="F26B43"/>
          </p15:clr>
        </p15:guide>
        <p15:guide id="4" orient="horz" pos="833">
          <p15:clr>
            <a:srgbClr val="F26B43"/>
          </p15:clr>
        </p15:guide>
        <p15:guide id="5" orient="horz" pos="608">
          <p15:clr>
            <a:srgbClr val="F26B43"/>
          </p15:clr>
        </p15:guide>
        <p15:guide id="6" orient="horz" pos="27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Title 3">
            <a:extLst>
              <a:ext uri="{FF2B5EF4-FFF2-40B4-BE49-F238E27FC236}">
                <a16:creationId xmlns:a16="http://schemas.microsoft.com/office/drawing/2014/main" id="{68F39E93-D03E-45E1-91ED-77361F369D34}"/>
              </a:ext>
            </a:extLst>
          </p:cNvPr>
          <p:cNvSpPr txBox="1">
            <a:spLocks/>
          </p:cNvSpPr>
          <p:nvPr/>
        </p:nvSpPr>
        <p:spPr bwMode="auto">
          <a:xfrm>
            <a:off x="331222" y="202373"/>
            <a:ext cx="11793537" cy="21544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marR="0" indent="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0">
                <a:solidFill>
                  <a:schemeClr val="tx1"/>
                </a:solidFill>
                <a:effectLst/>
                <a:latin typeface="Segoe UI Semibold" panose="020B0702040204020203" pitchFamily="34" charset="0"/>
                <a:ea typeface="ＭＳ Ｐゴシック" pitchFamily="-108" charset="-128"/>
                <a:cs typeface="Segoe UI Semibold" panose="020B0702040204020203" pitchFamily="34" charset="0"/>
              </a:defRPr>
            </a:lvl1pPr>
            <a:lvl2pPr algn="l" rtl="0" eaLnBrk="1" fontAlgn="base" hangingPunct="1">
              <a:lnSpc>
                <a:spcPts val="2250"/>
              </a:lnSpc>
              <a:spcBef>
                <a:spcPct val="0"/>
              </a:spcBef>
              <a:spcAft>
                <a:spcPct val="0"/>
              </a:spcAft>
              <a:defRPr sz="2025" b="1">
                <a:solidFill>
                  <a:schemeClr val="tx1"/>
                </a:solidFill>
                <a:latin typeface="Arial" pitchFamily="-108" charset="0"/>
                <a:ea typeface="ＭＳ Ｐゴシック" pitchFamily="-108" charset="-128"/>
                <a:cs typeface="ＭＳ Ｐゴシック" pitchFamily="-108" charset="-128"/>
              </a:defRPr>
            </a:lvl2pPr>
            <a:lvl3pPr algn="l" rtl="0" eaLnBrk="1" fontAlgn="base" hangingPunct="1">
              <a:lnSpc>
                <a:spcPts val="2250"/>
              </a:lnSpc>
              <a:spcBef>
                <a:spcPct val="0"/>
              </a:spcBef>
              <a:spcAft>
                <a:spcPct val="0"/>
              </a:spcAft>
              <a:defRPr sz="2025" b="1">
                <a:solidFill>
                  <a:schemeClr val="tx1"/>
                </a:solidFill>
                <a:latin typeface="Arial" pitchFamily="-108" charset="0"/>
                <a:ea typeface="ＭＳ Ｐゴシック" pitchFamily="-108" charset="-128"/>
                <a:cs typeface="ＭＳ Ｐゴシック" pitchFamily="-108" charset="-128"/>
              </a:defRPr>
            </a:lvl3pPr>
            <a:lvl4pPr algn="l" rtl="0" eaLnBrk="1" fontAlgn="base" hangingPunct="1">
              <a:lnSpc>
                <a:spcPts val="2250"/>
              </a:lnSpc>
              <a:spcBef>
                <a:spcPct val="0"/>
              </a:spcBef>
              <a:spcAft>
                <a:spcPct val="0"/>
              </a:spcAft>
              <a:defRPr sz="2025" b="1">
                <a:solidFill>
                  <a:schemeClr val="tx1"/>
                </a:solidFill>
                <a:latin typeface="Arial" pitchFamily="-108" charset="0"/>
                <a:ea typeface="ＭＳ Ｐゴシック" pitchFamily="-108" charset="-128"/>
                <a:cs typeface="ＭＳ Ｐゴシック" pitchFamily="-108" charset="-128"/>
              </a:defRPr>
            </a:lvl4pPr>
            <a:lvl5pPr algn="l" rtl="0" eaLnBrk="1" fontAlgn="base" hangingPunct="1">
              <a:lnSpc>
                <a:spcPts val="2250"/>
              </a:lnSpc>
              <a:spcBef>
                <a:spcPct val="0"/>
              </a:spcBef>
              <a:spcAft>
                <a:spcPct val="0"/>
              </a:spcAft>
              <a:defRPr sz="2025" b="1">
                <a:solidFill>
                  <a:schemeClr val="tx1"/>
                </a:solidFill>
                <a:latin typeface="Arial" pitchFamily="-108" charset="0"/>
                <a:ea typeface="ＭＳ Ｐゴシック" pitchFamily="-108" charset="-128"/>
                <a:cs typeface="ＭＳ Ｐゴシック" pitchFamily="-108" charset="-128"/>
              </a:defRPr>
            </a:lvl5pPr>
            <a:lvl6pPr marL="342884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-108" charset="0"/>
              </a:defRPr>
            </a:lvl6pPr>
            <a:lvl7pPr marL="68576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-108" charset="0"/>
              </a:defRPr>
            </a:lvl7pPr>
            <a:lvl8pPr marL="102864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-108" charset="0"/>
              </a:defRPr>
            </a:lvl8pPr>
            <a:lvl9pPr marL="137153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-108" charset="0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400" b="1" kern="0" dirty="0">
                <a:latin typeface="Arial" panose="020B0604020202020204" pitchFamily="34" charset="0"/>
                <a:cs typeface="Arial" panose="020B0604020202020204" pitchFamily="34" charset="0"/>
              </a:rPr>
              <a:t>Eaton Saviynt Implementation</a:t>
            </a:r>
          </a:p>
        </p:txBody>
      </p:sp>
      <p:graphicFrame>
        <p:nvGraphicFramePr>
          <p:cNvPr id="217" name="Table 30">
            <a:extLst>
              <a:ext uri="{FF2B5EF4-FFF2-40B4-BE49-F238E27FC236}">
                <a16:creationId xmlns:a16="http://schemas.microsoft.com/office/drawing/2014/main" id="{F28517C6-1D8D-49D4-ABCF-7C87EC22BA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9516132"/>
              </p:ext>
            </p:extLst>
          </p:nvPr>
        </p:nvGraphicFramePr>
        <p:xfrm>
          <a:off x="7586804" y="105956"/>
          <a:ext cx="4394954" cy="6237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5512">
                  <a:extLst>
                    <a:ext uri="{9D8B030D-6E8A-4147-A177-3AD203B41FA5}">
                      <a16:colId xmlns:a16="http://schemas.microsoft.com/office/drawing/2014/main" val="212249805"/>
                    </a:ext>
                  </a:extLst>
                </a:gridCol>
                <a:gridCol w="1069814">
                  <a:extLst>
                    <a:ext uri="{9D8B030D-6E8A-4147-A177-3AD203B41FA5}">
                      <a16:colId xmlns:a16="http://schemas.microsoft.com/office/drawing/2014/main" val="2537957442"/>
                    </a:ext>
                  </a:extLst>
                </a:gridCol>
                <a:gridCol w="1069814">
                  <a:extLst>
                    <a:ext uri="{9D8B030D-6E8A-4147-A177-3AD203B41FA5}">
                      <a16:colId xmlns:a16="http://schemas.microsoft.com/office/drawing/2014/main" val="2526514755"/>
                    </a:ext>
                  </a:extLst>
                </a:gridCol>
                <a:gridCol w="1069814">
                  <a:extLst>
                    <a:ext uri="{9D8B030D-6E8A-4147-A177-3AD203B41FA5}">
                      <a16:colId xmlns:a16="http://schemas.microsoft.com/office/drawing/2014/main" val="3385597302"/>
                    </a:ext>
                  </a:extLst>
                </a:gridCol>
              </a:tblGrid>
              <a:tr h="311861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rt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/>
                          <a:cs typeface="Arial"/>
                        </a:rPr>
                        <a:t>Finis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 comple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/>
                          <a:cs typeface="Arial"/>
                        </a:rPr>
                        <a:t>Statu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0943445"/>
                  </a:ext>
                </a:extLst>
              </a:tr>
              <a:tr h="31186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6/12/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/>
                          <a:cs typeface="Arial"/>
                        </a:rPr>
                        <a:t>09/13/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n Track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423870"/>
                  </a:ext>
                </a:extLst>
              </a:tr>
            </a:tbl>
          </a:graphicData>
        </a:graphic>
      </p:graphicFrame>
      <p:graphicFrame>
        <p:nvGraphicFramePr>
          <p:cNvPr id="219" name="Table 21">
            <a:extLst>
              <a:ext uri="{FF2B5EF4-FFF2-40B4-BE49-F238E27FC236}">
                <a16:creationId xmlns:a16="http://schemas.microsoft.com/office/drawing/2014/main" id="{BBB6BF28-A155-415B-BC18-9034F3820A0C}"/>
              </a:ext>
            </a:extLst>
          </p:cNvPr>
          <p:cNvGraphicFramePr>
            <a:graphicFrameLocks noGrp="1"/>
          </p:cNvGraphicFramePr>
          <p:nvPr/>
        </p:nvGraphicFramePr>
        <p:xfrm>
          <a:off x="366431" y="949500"/>
          <a:ext cx="6922470" cy="7207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2470">
                  <a:extLst>
                    <a:ext uri="{9D8B030D-6E8A-4147-A177-3AD203B41FA5}">
                      <a16:colId xmlns:a16="http://schemas.microsoft.com/office/drawing/2014/main" val="1425748387"/>
                    </a:ext>
                  </a:extLst>
                </a:gridCol>
              </a:tblGrid>
              <a:tr h="161310">
                <a:tc>
                  <a:txBody>
                    <a:bodyPr/>
                    <a:lstStyle/>
                    <a:p>
                      <a:r>
                        <a:rPr lang="en-US" sz="1050" dirty="0">
                          <a:latin typeface="Arial"/>
                          <a:cs typeface="Arial"/>
                        </a:rPr>
                        <a:t>Workstream Summary / Status</a:t>
                      </a:r>
                    </a:p>
                  </a:txBody>
                  <a:tcPr marL="91729" marR="91729"/>
                </a:tc>
                <a:extLst>
                  <a:ext uri="{0D108BD9-81ED-4DB2-BD59-A6C34878D82A}">
                    <a16:rowId xmlns:a16="http://schemas.microsoft.com/office/drawing/2014/main" val="4009412250"/>
                  </a:ext>
                </a:extLst>
              </a:tr>
              <a:tr h="469265"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,Sans-Serif" panose="020B0604020202020204" pitchFamily="34" charset="0"/>
                        <a:buChar char="•"/>
                      </a:pPr>
                      <a:endParaRPr lang="en-US" sz="900" b="0" i="0" u="none" strike="noStrike" kern="0" noProof="0" dirty="0">
                        <a:solidFill>
                          <a:schemeClr val="dk1"/>
                        </a:solidFill>
                        <a:latin typeface="Arial"/>
                        <a:cs typeface="Arial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,Sans-Serif" panose="020B0604020202020204" pitchFamily="34" charset="0"/>
                        <a:buChar char="•"/>
                      </a:pPr>
                      <a:endParaRPr lang="en-US" sz="900" b="0" i="0" u="none" strike="noStrike" kern="0" noProof="0" dirty="0">
                        <a:solidFill>
                          <a:schemeClr val="dk1"/>
                        </a:solidFill>
                        <a:latin typeface="Arial"/>
                        <a:cs typeface="Arial"/>
                      </a:endParaRPr>
                    </a:p>
                  </a:txBody>
                  <a:tcPr marL="91729" marR="91729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5561808"/>
                  </a:ext>
                </a:extLst>
              </a:tr>
            </a:tbl>
          </a:graphicData>
        </a:graphic>
      </p:graphicFrame>
      <p:sp>
        <p:nvSpPr>
          <p:cNvPr id="221" name="TextBox 220">
            <a:extLst>
              <a:ext uri="{FF2B5EF4-FFF2-40B4-BE49-F238E27FC236}">
                <a16:creationId xmlns:a16="http://schemas.microsoft.com/office/drawing/2014/main" id="{FB8CCBBD-5D2B-416B-9509-5A29F5C44AAC}"/>
              </a:ext>
            </a:extLst>
          </p:cNvPr>
          <p:cNvSpPr txBox="1"/>
          <p:nvPr/>
        </p:nvSpPr>
        <p:spPr>
          <a:xfrm>
            <a:off x="274320" y="7780382"/>
            <a:ext cx="8368685" cy="23852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lnSpc>
                <a:spcPct val="95000"/>
              </a:lnSpc>
              <a:spcBef>
                <a:spcPts val="0"/>
              </a:spcBef>
            </a:pPr>
            <a:r>
              <a:rPr lang="en-US" sz="1000">
                <a:solidFill>
                  <a:srgbClr val="000000"/>
                </a:solidFill>
                <a:latin typeface="Arial"/>
              </a:rPr>
              <a:t>* Deliverables listed with an asterisk (*) are being worked toward completion but will not be completed within the 4-week duration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CF2E0A-E174-4792-BBF2-1DD45528D4F6}"/>
              </a:ext>
            </a:extLst>
          </p:cNvPr>
          <p:cNvSpPr/>
          <p:nvPr/>
        </p:nvSpPr>
        <p:spPr>
          <a:xfrm>
            <a:off x="1427833" y="6436545"/>
            <a:ext cx="8152799" cy="320217"/>
          </a:xfrm>
          <a:prstGeom prst="rect">
            <a:avLst/>
          </a:prstGeom>
          <a:solidFill>
            <a:schemeClr val="bg1"/>
          </a:solidFill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__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n Track     |   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__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f Track, No Overall Impact     |  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_ 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f Track, Overall Impact     |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_       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leted 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036F326-833F-4DE7-AC02-85A287E48085}"/>
              </a:ext>
            </a:extLst>
          </p:cNvPr>
          <p:cNvSpPr/>
          <p:nvPr/>
        </p:nvSpPr>
        <p:spPr>
          <a:xfrm>
            <a:off x="1835244" y="6520453"/>
            <a:ext cx="152400" cy="1524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0A243528-1BAF-4E6D-BF3A-46F6153FF753}"/>
              </a:ext>
            </a:extLst>
          </p:cNvPr>
          <p:cNvSpPr/>
          <p:nvPr/>
        </p:nvSpPr>
        <p:spPr>
          <a:xfrm>
            <a:off x="3122870" y="6520453"/>
            <a:ext cx="152400" cy="1524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A3DEED62-4866-4C63-97D1-8B038BE39E63}"/>
              </a:ext>
            </a:extLst>
          </p:cNvPr>
          <p:cNvSpPr/>
          <p:nvPr/>
        </p:nvSpPr>
        <p:spPr>
          <a:xfrm>
            <a:off x="5707938" y="6520453"/>
            <a:ext cx="152400" cy="1524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F198FB9-0B8C-4F88-9480-15B5046D05DE}"/>
              </a:ext>
            </a:extLst>
          </p:cNvPr>
          <p:cNvSpPr/>
          <p:nvPr/>
        </p:nvSpPr>
        <p:spPr>
          <a:xfrm>
            <a:off x="8055088" y="6520453"/>
            <a:ext cx="152400" cy="152400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6" name="Table 21">
            <a:extLst>
              <a:ext uri="{FF2B5EF4-FFF2-40B4-BE49-F238E27FC236}">
                <a16:creationId xmlns:a16="http://schemas.microsoft.com/office/drawing/2014/main" id="{493DD91F-665A-447A-A1B5-A40DB6F49C91}"/>
              </a:ext>
            </a:extLst>
          </p:cNvPr>
          <p:cNvGraphicFramePr>
            <a:graphicFrameLocks noGrp="1"/>
          </p:cNvGraphicFramePr>
          <p:nvPr/>
        </p:nvGraphicFramePr>
        <p:xfrm>
          <a:off x="331222" y="2114966"/>
          <a:ext cx="6922470" cy="7374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2470">
                  <a:extLst>
                    <a:ext uri="{9D8B030D-6E8A-4147-A177-3AD203B41FA5}">
                      <a16:colId xmlns:a16="http://schemas.microsoft.com/office/drawing/2014/main" val="1425748387"/>
                    </a:ext>
                  </a:extLst>
                </a:gridCol>
              </a:tblGrid>
              <a:tr h="210192">
                <a:tc>
                  <a:txBody>
                    <a:bodyPr/>
                    <a:lstStyle/>
                    <a:p>
                      <a:r>
                        <a:rPr lang="en-US" sz="1050" dirty="0">
                          <a:latin typeface="Arial"/>
                          <a:cs typeface="Arial"/>
                        </a:rPr>
                        <a:t>Accomplished Activities:</a:t>
                      </a:r>
                    </a:p>
                  </a:txBody>
                  <a:tcPr marL="91729" marR="91729"/>
                </a:tc>
                <a:extLst>
                  <a:ext uri="{0D108BD9-81ED-4DB2-BD59-A6C34878D82A}">
                    <a16:rowId xmlns:a16="http://schemas.microsoft.com/office/drawing/2014/main" val="4009412250"/>
                  </a:ext>
                </a:extLst>
              </a:tr>
              <a:tr h="485966">
                <a:tc>
                  <a:txBody>
                    <a:bodyPr/>
                    <a:lstStyle/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endParaRPr lang="en-US" sz="1000" b="0" i="0" u="none" strike="noStrike" kern="0" noProof="0" dirty="0">
                        <a:solidFill>
                          <a:schemeClr val="dk1"/>
                        </a:solidFill>
                        <a:latin typeface="Arial"/>
                      </a:endParaRPr>
                    </a:p>
                  </a:txBody>
                  <a:tcPr marL="91729" marR="91729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5561808"/>
                  </a:ext>
                </a:extLst>
              </a:tr>
            </a:tbl>
          </a:graphicData>
        </a:graphic>
      </p:graphicFrame>
      <p:graphicFrame>
        <p:nvGraphicFramePr>
          <p:cNvPr id="2" name="Table 21">
            <a:extLst>
              <a:ext uri="{FF2B5EF4-FFF2-40B4-BE49-F238E27FC236}">
                <a16:creationId xmlns:a16="http://schemas.microsoft.com/office/drawing/2014/main" id="{186DADD0-C378-9C37-6869-2920AF7FBB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9825880"/>
              </p:ext>
            </p:extLst>
          </p:nvPr>
        </p:nvGraphicFramePr>
        <p:xfrm>
          <a:off x="7586805" y="813585"/>
          <a:ext cx="4394955" cy="3552462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217190">
                  <a:extLst>
                    <a:ext uri="{9D8B030D-6E8A-4147-A177-3AD203B41FA5}">
                      <a16:colId xmlns:a16="http://schemas.microsoft.com/office/drawing/2014/main" val="1116166710"/>
                    </a:ext>
                  </a:extLst>
                </a:gridCol>
                <a:gridCol w="686571">
                  <a:extLst>
                    <a:ext uri="{9D8B030D-6E8A-4147-A177-3AD203B41FA5}">
                      <a16:colId xmlns:a16="http://schemas.microsoft.com/office/drawing/2014/main" val="2101289312"/>
                    </a:ext>
                  </a:extLst>
                </a:gridCol>
                <a:gridCol w="794105">
                  <a:extLst>
                    <a:ext uri="{9D8B030D-6E8A-4147-A177-3AD203B41FA5}">
                      <a16:colId xmlns:a16="http://schemas.microsoft.com/office/drawing/2014/main" val="3570529273"/>
                    </a:ext>
                  </a:extLst>
                </a:gridCol>
                <a:gridCol w="697089">
                  <a:extLst>
                    <a:ext uri="{9D8B030D-6E8A-4147-A177-3AD203B41FA5}">
                      <a16:colId xmlns:a16="http://schemas.microsoft.com/office/drawing/2014/main" val="2129363764"/>
                    </a:ext>
                  </a:extLst>
                </a:gridCol>
              </a:tblGrid>
              <a:tr h="383068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pcoming Key Milestone(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Arial"/>
                          <a:cs typeface="Arial"/>
                        </a:rPr>
                        <a:t>D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Arial"/>
                          <a:cs typeface="Arial"/>
                        </a:rPr>
                        <a:t>Mitigation D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Arial"/>
                          <a:cs typeface="Arial"/>
                        </a:rPr>
                        <a:t>Statu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09412250"/>
                  </a:ext>
                </a:extLst>
              </a:tr>
              <a:tr h="223456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endParaRPr lang="en-US" sz="900" b="0" i="0" u="none" strike="noStrike" baseline="0" noProof="0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68580" marR="68580" marT="0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1" i="0" u="none" strike="noStrike" baseline="0" noProof="0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Completed</a:t>
                      </a:r>
                      <a:endParaRPr lang="en-US" sz="900" b="0" i="0" u="none" strike="noStrike" baseline="0" noProof="0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7568452"/>
                  </a:ext>
                </a:extLst>
              </a:tr>
              <a:tr h="255379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en-US" sz="9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900" b="1" i="0" u="none" strike="noStrike" baseline="0" noProof="0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Completed</a:t>
                      </a:r>
                    </a:p>
                  </a:txBody>
                  <a:tcPr marL="6350" marR="6350" marT="6350" marB="0" anchor="ctr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2401107"/>
                  </a:ext>
                </a:extLst>
              </a:tr>
              <a:tr h="38306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900" b="1" i="0" u="none" strike="noStrike" baseline="0" noProof="0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Completed</a:t>
                      </a:r>
                    </a:p>
                  </a:txBody>
                  <a:tcPr marL="6350" marR="6350" marT="6350" marB="0" anchor="ctr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8067340"/>
                  </a:ext>
                </a:extLst>
              </a:tr>
              <a:tr h="22345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900" b="1" i="0" u="none" strike="noStrike" baseline="0" noProof="0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Completed</a:t>
                      </a:r>
                    </a:p>
                  </a:txBody>
                  <a:tcPr marL="6350" marR="6350" marT="6350" marB="0" anchor="ctr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1468480"/>
                  </a:ext>
                </a:extLst>
              </a:tr>
              <a:tr h="22345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900" b="1" i="0" u="none" strike="noStrike" baseline="0" noProof="0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Completed</a:t>
                      </a:r>
                    </a:p>
                  </a:txBody>
                  <a:tcPr marL="6350" marR="6350" marT="6350" marB="0" anchor="ctr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2013915"/>
                  </a:ext>
                </a:extLst>
              </a:tr>
              <a:tr h="22345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8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baseline="0" noProof="0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Completed</a:t>
                      </a:r>
                    </a:p>
                  </a:txBody>
                  <a:tcPr marL="6350" marR="6350" marT="6350" marB="0" anchor="ctr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6347880"/>
                  </a:ext>
                </a:extLst>
              </a:tr>
              <a:tr h="22345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8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baseline="0" noProof="0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Off Track</a:t>
                      </a:r>
                    </a:p>
                  </a:txBody>
                  <a:tcPr marL="6350" marR="6350" marT="6350" marB="0" anchor="ctr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0347233"/>
                  </a:ext>
                </a:extLst>
              </a:tr>
              <a:tr h="255379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8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u="none" strike="noStrike" baseline="0" noProof="0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On Track</a:t>
                      </a:r>
                      <a:endParaRPr lang="en-US" sz="900" b="1" i="0" u="none" strike="noStrike" baseline="0" noProof="0" dirty="0">
                        <a:solidFill>
                          <a:schemeClr val="bg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6350" marR="6350" marT="6350" marB="0"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3951631"/>
                  </a:ext>
                </a:extLst>
              </a:tr>
              <a:tr h="24287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8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u="none" strike="noStrike" baseline="0" noProof="0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On Track</a:t>
                      </a:r>
                      <a:endParaRPr lang="en-US" sz="900" b="1" i="0" u="none" strike="noStrike" baseline="0" noProof="0" dirty="0">
                        <a:solidFill>
                          <a:schemeClr val="bg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6350" marR="6350" marT="6350" marB="0"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8055740"/>
                  </a:ext>
                </a:extLst>
              </a:tr>
              <a:tr h="255379">
                <a:tc>
                  <a:txBody>
                    <a:bodyPr/>
                    <a:lstStyle/>
                    <a:p>
                      <a:pPr marL="0" marR="0" lv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 dirty="0"/>
                    </a:p>
                  </a:txBody>
                  <a:tcPr marL="68580" marR="68580" marT="0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900" b="0" dirty="0">
                        <a:latin typeface="Arial"/>
                        <a:cs typeface="Arial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900" b="0" dirty="0">
                        <a:latin typeface="Arial"/>
                        <a:cs typeface="Arial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900" b="1" i="0" u="none" strike="noStrike" baseline="0" noProof="0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On Track</a:t>
                      </a:r>
                    </a:p>
                  </a:txBody>
                  <a:tcPr marL="6350" marR="6350" marT="6350" marB="0"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2126204"/>
                  </a:ext>
                </a:extLst>
              </a:tr>
              <a:tr h="255379">
                <a:tc>
                  <a:txBody>
                    <a:bodyPr/>
                    <a:lstStyle/>
                    <a:p>
                      <a:pPr marL="0" marR="0" lv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 b="0" dirty="0">
                        <a:latin typeface="Arial"/>
                        <a:cs typeface="Arial"/>
                      </a:endParaRPr>
                    </a:p>
                  </a:txBody>
                  <a:tcPr marL="68580" marR="68580" marT="0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900" b="0" dirty="0">
                        <a:latin typeface="Arial"/>
                        <a:cs typeface="Arial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900" b="0" dirty="0">
                        <a:latin typeface="Arial"/>
                        <a:cs typeface="Arial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900" b="1" i="0" u="none" strike="noStrike" baseline="0" noProof="0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On Track</a:t>
                      </a:r>
                    </a:p>
                  </a:txBody>
                  <a:tcPr marL="6350" marR="6350" marT="6350" marB="0"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4271009"/>
                  </a:ext>
                </a:extLst>
              </a:tr>
              <a:tr h="255379">
                <a:tc>
                  <a:txBody>
                    <a:bodyPr/>
                    <a:lstStyle/>
                    <a:p>
                      <a:pPr marL="0" marR="0" lv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 b="0" dirty="0">
                        <a:latin typeface="Arial"/>
                        <a:cs typeface="Arial"/>
                      </a:endParaRPr>
                    </a:p>
                  </a:txBody>
                  <a:tcPr marL="68580" marR="68580" marT="0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900" b="0" dirty="0">
                        <a:latin typeface="Arial"/>
                        <a:cs typeface="Arial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900" b="0" dirty="0">
                        <a:latin typeface="Arial"/>
                        <a:cs typeface="Arial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900" b="1" i="0" u="none" strike="noStrike" baseline="0" noProof="0" dirty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On Track </a:t>
                      </a:r>
                    </a:p>
                  </a:txBody>
                  <a:tcPr marL="6350" marR="6350" marT="6350" marB="0"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1470777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9DCFD3C2-678E-6BEC-B527-43FEA3F05CEF}"/>
              </a:ext>
            </a:extLst>
          </p:cNvPr>
          <p:cNvSpPr txBox="1"/>
          <p:nvPr/>
        </p:nvSpPr>
        <p:spPr bwMode="auto">
          <a:xfrm>
            <a:off x="231970" y="6304002"/>
            <a:ext cx="1011798" cy="553998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45720" tIns="91440" rIns="45720" bIns="9144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l">
              <a:buNone/>
            </a:pPr>
            <a:r>
              <a:rPr lang="en-US" sz="1200" kern="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port Date: 7/31</a:t>
            </a:r>
          </a:p>
        </p:txBody>
      </p:sp>
      <p:graphicFrame>
        <p:nvGraphicFramePr>
          <p:cNvPr id="218" name="Table 21">
            <a:extLst>
              <a:ext uri="{FF2B5EF4-FFF2-40B4-BE49-F238E27FC236}">
                <a16:creationId xmlns:a16="http://schemas.microsoft.com/office/drawing/2014/main" id="{7CF69FE1-800E-4C8E-9865-7335FB08B804}"/>
              </a:ext>
            </a:extLst>
          </p:cNvPr>
          <p:cNvGraphicFramePr>
            <a:graphicFrameLocks noGrp="1"/>
          </p:cNvGraphicFramePr>
          <p:nvPr/>
        </p:nvGraphicFramePr>
        <p:xfrm>
          <a:off x="301480" y="3427021"/>
          <a:ext cx="6922470" cy="1292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2470">
                  <a:extLst>
                    <a:ext uri="{9D8B030D-6E8A-4147-A177-3AD203B41FA5}">
                      <a16:colId xmlns:a16="http://schemas.microsoft.com/office/drawing/2014/main" val="1425748387"/>
                    </a:ext>
                  </a:extLst>
                </a:gridCol>
              </a:tblGrid>
              <a:tr h="194354">
                <a:tc>
                  <a:txBody>
                    <a:bodyPr/>
                    <a:lstStyle/>
                    <a:p>
                      <a:r>
                        <a:rPr lang="en-US" sz="1050" dirty="0">
                          <a:latin typeface="Arial"/>
                          <a:cs typeface="Arial"/>
                        </a:rPr>
                        <a:t>Planned Activities for Following Week:</a:t>
                      </a:r>
                    </a:p>
                  </a:txBody>
                  <a:tcPr marL="91729" marR="91729" anchor="ctr"/>
                </a:tc>
                <a:extLst>
                  <a:ext uri="{0D108BD9-81ED-4DB2-BD59-A6C34878D82A}">
                    <a16:rowId xmlns:a16="http://schemas.microsoft.com/office/drawing/2014/main" val="4009412250"/>
                  </a:ext>
                </a:extLst>
              </a:tr>
              <a:tr h="812756">
                <a:tc>
                  <a:txBody>
                    <a:bodyPr/>
                    <a:lstStyle/>
                    <a:p>
                      <a:pPr marL="171450" marR="0" lvl="0" indent="-171450" algn="l" defTabSz="3428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  <a:tabLst/>
                        <a:defRPr/>
                      </a:pPr>
                      <a:endParaRPr lang="en-US" sz="1000" b="0" i="0" u="none" strike="noStrike" kern="0" noProof="0" dirty="0">
                        <a:solidFill>
                          <a:schemeClr val="dk1"/>
                        </a:solidFill>
                        <a:latin typeface="Arial"/>
                        <a:cs typeface="Arial"/>
                      </a:endParaRPr>
                    </a:p>
                  </a:txBody>
                  <a:tcPr marL="91729" marR="91729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5561808"/>
                  </a:ext>
                </a:extLst>
              </a:tr>
              <a:tr h="203189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 b="0" i="0" u="none" strike="noStrike" kern="0" noProof="0" dirty="0">
                        <a:solidFill>
                          <a:schemeClr val="dk1"/>
                        </a:solidFill>
                        <a:latin typeface="Arial"/>
                      </a:endParaRPr>
                    </a:p>
                  </a:txBody>
                  <a:tcPr marL="91728" marR="91728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660287"/>
                  </a:ext>
                </a:extLst>
              </a:tr>
            </a:tbl>
          </a:graphicData>
        </a:graphic>
      </p:graphicFrame>
      <p:graphicFrame>
        <p:nvGraphicFramePr>
          <p:cNvPr id="220" name="Table 21">
            <a:extLst>
              <a:ext uri="{FF2B5EF4-FFF2-40B4-BE49-F238E27FC236}">
                <a16:creationId xmlns:a16="http://schemas.microsoft.com/office/drawing/2014/main" id="{12E10824-A17B-4102-A0CA-5787F9688B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9027107"/>
              </p:ext>
            </p:extLst>
          </p:nvPr>
        </p:nvGraphicFramePr>
        <p:xfrm>
          <a:off x="366431" y="4719837"/>
          <a:ext cx="11615327" cy="4953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82362">
                  <a:extLst>
                    <a:ext uri="{9D8B030D-6E8A-4147-A177-3AD203B41FA5}">
                      <a16:colId xmlns:a16="http://schemas.microsoft.com/office/drawing/2014/main" val="936962279"/>
                    </a:ext>
                  </a:extLst>
                </a:gridCol>
                <a:gridCol w="4554760">
                  <a:extLst>
                    <a:ext uri="{9D8B030D-6E8A-4147-A177-3AD203B41FA5}">
                      <a16:colId xmlns:a16="http://schemas.microsoft.com/office/drawing/2014/main" val="2443721476"/>
                    </a:ext>
                  </a:extLst>
                </a:gridCol>
                <a:gridCol w="1132101">
                  <a:extLst>
                    <a:ext uri="{9D8B030D-6E8A-4147-A177-3AD203B41FA5}">
                      <a16:colId xmlns:a16="http://schemas.microsoft.com/office/drawing/2014/main" val="1459735592"/>
                    </a:ext>
                  </a:extLst>
                </a:gridCol>
                <a:gridCol w="1046104">
                  <a:extLst>
                    <a:ext uri="{9D8B030D-6E8A-4147-A177-3AD203B41FA5}">
                      <a16:colId xmlns:a16="http://schemas.microsoft.com/office/drawing/2014/main" val="927499825"/>
                    </a:ext>
                  </a:extLst>
                </a:gridCol>
              </a:tblGrid>
              <a:tr h="145311">
                <a:tc>
                  <a:txBody>
                    <a:bodyPr/>
                    <a:lstStyle/>
                    <a:p>
                      <a:r>
                        <a:rPr lang="en-US" sz="1050" dirty="0">
                          <a:latin typeface="Arial"/>
                          <a:cs typeface="Arial"/>
                        </a:rPr>
                        <a:t>Risks/Issues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latin typeface="Arial"/>
                          <a:cs typeface="Arial"/>
                        </a:rPr>
                        <a:t>Mitigation Plan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50">
                          <a:latin typeface="Arial"/>
                          <a:cs typeface="Arial"/>
                        </a:rPr>
                        <a:t>Owner</a:t>
                      </a:r>
                      <a:endParaRPr lang="en-US" sz="1050" dirty="0">
                        <a:latin typeface="Arial"/>
                        <a:cs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latin typeface="Arial"/>
                          <a:cs typeface="Arial"/>
                        </a:rPr>
                        <a:t>Due Dat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9412250"/>
                  </a:ext>
                </a:extLst>
              </a:tr>
              <a:tr h="232498">
                <a:tc>
                  <a:txBody>
                    <a:bodyPr/>
                    <a:lstStyle/>
                    <a:p>
                      <a:pPr marL="0" marR="0" lvl="0" indent="0" algn="l" defTabSz="3428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3428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000" dirty="0">
                        <a:highlight>
                          <a:srgbClr val="FFFF00"/>
                        </a:highlight>
                        <a:latin typeface="Arial"/>
                        <a:cs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3428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dirty="0">
                        <a:latin typeface="Arial"/>
                        <a:cs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3428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46577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825938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le 13">
            <a:extLst>
              <a:ext uri="{FF2B5EF4-FFF2-40B4-BE49-F238E27FC236}">
                <a16:creationId xmlns:a16="http://schemas.microsoft.com/office/drawing/2014/main" id="{1C87E5BA-51A7-42A9-9F85-0779769E1181}"/>
              </a:ext>
            </a:extLst>
          </p:cNvPr>
          <p:cNvGraphicFramePr>
            <a:graphicFrameLocks noGrp="1"/>
          </p:cNvGraphicFramePr>
          <p:nvPr/>
        </p:nvGraphicFramePr>
        <p:xfrm>
          <a:off x="6790421" y="6609464"/>
          <a:ext cx="4572000" cy="24853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997200">
                  <a:extLst>
                    <a:ext uri="{9D8B030D-6E8A-4147-A177-3AD203B41FA5}">
                      <a16:colId xmlns:a16="http://schemas.microsoft.com/office/drawing/2014/main" val="2322588793"/>
                    </a:ext>
                  </a:extLst>
                </a:gridCol>
                <a:gridCol w="777240">
                  <a:extLst>
                    <a:ext uri="{9D8B030D-6E8A-4147-A177-3AD203B41FA5}">
                      <a16:colId xmlns:a16="http://schemas.microsoft.com/office/drawing/2014/main" val="603107592"/>
                    </a:ext>
                  </a:extLst>
                </a:gridCol>
                <a:gridCol w="797560">
                  <a:extLst>
                    <a:ext uri="{9D8B030D-6E8A-4147-A177-3AD203B41FA5}">
                      <a16:colId xmlns:a16="http://schemas.microsoft.com/office/drawing/2014/main" val="3728249691"/>
                    </a:ext>
                  </a:extLst>
                </a:gridCol>
              </a:tblGrid>
              <a:tr h="248533">
                <a:tc>
                  <a:txBody>
                    <a:bodyPr/>
                    <a:lstStyle/>
                    <a:p>
                      <a:pPr algn="r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mplete       </a:t>
                      </a:r>
                      <a:r>
                        <a:rPr lang="en-US" sz="900" b="1" kern="12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     </a:t>
                      </a:r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n Track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t-Risk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elayed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48904072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96672015-7BAC-4553-B23A-B0C3E2593B16}"/>
              </a:ext>
            </a:extLst>
          </p:cNvPr>
          <p:cNvSpPr txBox="1"/>
          <p:nvPr/>
        </p:nvSpPr>
        <p:spPr>
          <a:xfrm>
            <a:off x="579700" y="746437"/>
            <a:ext cx="69086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ysClr val="windowText" lastClr="000000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PMG Weekly Status Report (25-Nov-22 to 01-Dec-22) – Week 6 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f 18 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DABC2CC7-AD86-4E35-8A09-99032B2DAE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6172669"/>
              </p:ext>
            </p:extLst>
          </p:nvPr>
        </p:nvGraphicFramePr>
        <p:xfrm>
          <a:off x="660507" y="1157337"/>
          <a:ext cx="4415638" cy="1546836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44156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08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US" sz="1050" b="1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ctivities This Week</a:t>
                      </a:r>
                      <a:endParaRPr lang="en-US" sz="1050" b="1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760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6286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000" b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6286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000" b="0" kern="1200" baseline="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0" name="Title 1">
            <a:extLst>
              <a:ext uri="{FF2B5EF4-FFF2-40B4-BE49-F238E27FC236}">
                <a16:creationId xmlns:a16="http://schemas.microsoft.com/office/drawing/2014/main" id="{DC7FB363-D7FD-4212-8F00-727D06BBB7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507" y="314325"/>
            <a:ext cx="10245618" cy="438221"/>
          </a:xfrm>
        </p:spPr>
        <p:txBody>
          <a:bodyPr>
            <a:normAutofit fontScale="90000"/>
          </a:bodyPr>
          <a:lstStyle/>
          <a:p>
            <a:r>
              <a:rPr lang="en-US" sz="3600" dirty="0">
                <a:latin typeface="Calibri" panose="020F0502020204030204" pitchFamily="34" charset="0"/>
                <a:cs typeface="Calibri" panose="020F0502020204030204" pitchFamily="34" charset="0"/>
              </a:rPr>
              <a:t>Dashboard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3157A3FA-B965-4FE1-8D61-67F8D3A8120D}"/>
              </a:ext>
            </a:extLst>
          </p:cNvPr>
          <p:cNvSpPr/>
          <p:nvPr/>
        </p:nvSpPr>
        <p:spPr>
          <a:xfrm>
            <a:off x="9015805" y="6625203"/>
            <a:ext cx="182880" cy="182880"/>
          </a:xfrm>
          <a:prstGeom prst="ellipse">
            <a:avLst/>
          </a:prstGeom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4A951599-F1A6-459A-9740-FAF868C64F62}"/>
              </a:ext>
            </a:extLst>
          </p:cNvPr>
          <p:cNvSpPr/>
          <p:nvPr/>
        </p:nvSpPr>
        <p:spPr>
          <a:xfrm>
            <a:off x="9864720" y="6615817"/>
            <a:ext cx="182880" cy="182880"/>
          </a:xfrm>
          <a:prstGeom prst="ellipse">
            <a:avLst/>
          </a:prstGeom>
          <a:solidFill>
            <a:srgbClr val="FFC0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DFC257E1-5DD5-4022-8D97-3915D2C4F423}"/>
              </a:ext>
            </a:extLst>
          </p:cNvPr>
          <p:cNvSpPr/>
          <p:nvPr/>
        </p:nvSpPr>
        <p:spPr>
          <a:xfrm>
            <a:off x="10625170" y="6625203"/>
            <a:ext cx="182880" cy="182880"/>
          </a:xfrm>
          <a:prstGeom prst="ellipse">
            <a:avLst/>
          </a:prstGeom>
          <a:solidFill>
            <a:srgbClr val="FF00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3157A3FA-B965-4FE1-8D61-67F8D3A8120D}"/>
              </a:ext>
            </a:extLst>
          </p:cNvPr>
          <p:cNvSpPr/>
          <p:nvPr/>
        </p:nvSpPr>
        <p:spPr>
          <a:xfrm>
            <a:off x="8255355" y="6629186"/>
            <a:ext cx="182880" cy="182880"/>
          </a:xfrm>
          <a:prstGeom prst="ellipse">
            <a:avLst/>
          </a:prstGeom>
          <a:solidFill>
            <a:srgbClr val="179BD8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</a:t>
            </a:r>
          </a:p>
        </p:txBody>
      </p:sp>
      <p:graphicFrame>
        <p:nvGraphicFramePr>
          <p:cNvPr id="31" name="Table 30">
            <a:extLst>
              <a:ext uri="{FF2B5EF4-FFF2-40B4-BE49-F238E27FC236}">
                <a16:creationId xmlns:a16="http://schemas.microsoft.com/office/drawing/2014/main" id="{BC7A9BD5-634A-4367-AF5E-05EC1DF73D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4563675"/>
              </p:ext>
            </p:extLst>
          </p:nvPr>
        </p:nvGraphicFramePr>
        <p:xfrm>
          <a:off x="656288" y="2712238"/>
          <a:ext cx="4419857" cy="1246001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44198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048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050" b="1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ey Next Steps</a:t>
                      </a:r>
                      <a:endParaRPr lang="en-US" sz="1050" b="1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174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sz="1000" b="0" kern="1200" baseline="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41" name="Table 40">
            <a:extLst>
              <a:ext uri="{FF2B5EF4-FFF2-40B4-BE49-F238E27FC236}">
                <a16:creationId xmlns:a16="http://schemas.microsoft.com/office/drawing/2014/main" id="{1E518248-D5DE-41BC-A4FF-0E429133BD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1365510"/>
              </p:ext>
            </p:extLst>
          </p:nvPr>
        </p:nvGraphicFramePr>
        <p:xfrm>
          <a:off x="666529" y="5135703"/>
          <a:ext cx="10503207" cy="740462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479392">
                  <a:extLst>
                    <a:ext uri="{9D8B030D-6E8A-4147-A177-3AD203B41FA5}">
                      <a16:colId xmlns:a16="http://schemas.microsoft.com/office/drawing/2014/main" val="3310559279"/>
                    </a:ext>
                  </a:extLst>
                </a:gridCol>
                <a:gridCol w="1902079">
                  <a:extLst>
                    <a:ext uri="{9D8B030D-6E8A-4147-A177-3AD203B41FA5}">
                      <a16:colId xmlns:a16="http://schemas.microsoft.com/office/drawing/2014/main" val="314986066"/>
                    </a:ext>
                  </a:extLst>
                </a:gridCol>
                <a:gridCol w="618564">
                  <a:extLst>
                    <a:ext uri="{9D8B030D-6E8A-4147-A177-3AD203B41FA5}">
                      <a16:colId xmlns:a16="http://schemas.microsoft.com/office/drawing/2014/main" val="2607998598"/>
                    </a:ext>
                  </a:extLst>
                </a:gridCol>
                <a:gridCol w="546847">
                  <a:extLst>
                    <a:ext uri="{9D8B030D-6E8A-4147-A177-3AD203B41FA5}">
                      <a16:colId xmlns:a16="http://schemas.microsoft.com/office/drawing/2014/main" val="2657917501"/>
                    </a:ext>
                  </a:extLst>
                </a:gridCol>
                <a:gridCol w="672353">
                  <a:extLst>
                    <a:ext uri="{9D8B030D-6E8A-4147-A177-3AD203B41FA5}">
                      <a16:colId xmlns:a16="http://schemas.microsoft.com/office/drawing/2014/main" val="849068704"/>
                    </a:ext>
                  </a:extLst>
                </a:gridCol>
                <a:gridCol w="6283972">
                  <a:extLst>
                    <a:ext uri="{9D8B030D-6E8A-4147-A177-3AD203B41FA5}">
                      <a16:colId xmlns:a16="http://schemas.microsoft.com/office/drawing/2014/main" val="1479636065"/>
                    </a:ext>
                  </a:extLst>
                </a:gridCol>
              </a:tblGrid>
              <a:tr h="1559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#</a:t>
                      </a:r>
                      <a:endParaRPr lang="en-US" sz="1050" b="1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Upcoming Milestones</a:t>
                      </a:r>
                      <a:endParaRPr lang="en-US" sz="1050" b="1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Owner</a:t>
                      </a:r>
                      <a:endParaRPr lang="en-US" sz="1050" b="1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Status</a:t>
                      </a:r>
                      <a:endParaRPr lang="en-US" sz="1050" b="1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Due</a:t>
                      </a:r>
                      <a:endParaRPr lang="en-US" sz="1050" b="1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Notes</a:t>
                      </a:r>
                      <a:endParaRPr lang="en-US" sz="1050" b="1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221204014"/>
                  </a:ext>
                </a:extLst>
              </a:tr>
              <a:tr h="28348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L="73152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kern="1200" baseline="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lvl="0" algn="l"/>
                      <a:r>
                        <a:rPr lang="en-US" sz="1000" b="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PMG</a:t>
                      </a:r>
                      <a:endParaRPr lang="en-US" sz="1000" b="0" kern="1200" baseline="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3152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kern="1200" baseline="0" noProof="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-Nov</a:t>
                      </a:r>
                      <a:endParaRPr lang="en-US" sz="1000" b="0" kern="1200" baseline="0" dirty="0">
                        <a:solidFill>
                          <a:schemeClr val="bg1">
                            <a:lumMod val="7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3152" marR="0" marT="0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Yet to start</a:t>
                      </a:r>
                    </a:p>
                  </a:txBody>
                  <a:tcPr marL="73152" marR="0" marT="0" marB="0" anchor="ctr"/>
                </a:tc>
                <a:extLst>
                  <a:ext uri="{0D108BD9-81ED-4DB2-BD59-A6C34878D82A}">
                    <a16:rowId xmlns:a16="http://schemas.microsoft.com/office/drawing/2014/main" val="3564858272"/>
                  </a:ext>
                </a:extLst>
              </a:tr>
              <a:tr h="29696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73152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00" b="0" kern="1200" baseline="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lvl="0" algn="l"/>
                      <a:r>
                        <a:rPr lang="en-US" sz="1000" b="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PMG</a:t>
                      </a:r>
                      <a:endParaRPr lang="en-US" sz="1000" b="0" kern="1200" baseline="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3152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kern="1200" baseline="0" noProof="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9-Dec</a:t>
                      </a:r>
                      <a:endParaRPr lang="en-US" sz="1000" b="0" kern="1200" baseline="0" dirty="0">
                        <a:solidFill>
                          <a:schemeClr val="bg1">
                            <a:lumMod val="7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3152" marR="0" marT="0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 Progress</a:t>
                      </a:r>
                      <a:endParaRPr lang="en-US" sz="1000" b="0" kern="1200" baseline="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3152" marR="0" marT="0" marB="0" anchor="ctr"/>
                </a:tc>
                <a:extLst>
                  <a:ext uri="{0D108BD9-81ED-4DB2-BD59-A6C34878D82A}">
                    <a16:rowId xmlns:a16="http://schemas.microsoft.com/office/drawing/2014/main" val="4069291587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B8536057-C271-4AFF-B57F-C77FBED791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3685517"/>
              </p:ext>
            </p:extLst>
          </p:nvPr>
        </p:nvGraphicFramePr>
        <p:xfrm>
          <a:off x="5141443" y="1166297"/>
          <a:ext cx="6028293" cy="1150690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375218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761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32192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050" b="1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atus Summary</a:t>
                      </a:r>
                      <a:endParaRPr lang="en-US" sz="1050" b="1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2296" marR="82296" marT="41148" marB="41148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924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US" sz="1100" b="0" kern="12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umber of workshop sessions planned during last week</a:t>
                      </a:r>
                      <a:endParaRPr lang="en-US" sz="1100" b="0" kern="1200" dirty="0">
                        <a:solidFill>
                          <a:srgbClr val="000000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kern="1200" dirty="0">
                        <a:solidFill>
                          <a:srgbClr val="000000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833163954"/>
                  </a:ext>
                </a:extLst>
              </a:tr>
              <a:tr h="45924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US" sz="1100" b="0" kern="12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umber of workshop sessions completed during last week</a:t>
                      </a:r>
                      <a:endParaRPr lang="en-US" sz="1100" b="0" kern="1200" dirty="0">
                        <a:solidFill>
                          <a:srgbClr val="000000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kern="1200" dirty="0">
                        <a:solidFill>
                          <a:srgbClr val="000000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4" name="Oval 33">
            <a:extLst>
              <a:ext uri="{FF2B5EF4-FFF2-40B4-BE49-F238E27FC236}">
                <a16:creationId xmlns:a16="http://schemas.microsoft.com/office/drawing/2014/main" id="{54E13BE5-D3A0-409B-8E40-C51965DC6569}"/>
              </a:ext>
            </a:extLst>
          </p:cNvPr>
          <p:cNvSpPr/>
          <p:nvPr/>
        </p:nvSpPr>
        <p:spPr>
          <a:xfrm>
            <a:off x="3851166" y="5345385"/>
            <a:ext cx="182880" cy="182880"/>
          </a:xfrm>
          <a:prstGeom prst="ellipse">
            <a:avLst/>
          </a:prstGeom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7C9C8C00-733E-4672-9595-41120EA516B2}"/>
              </a:ext>
            </a:extLst>
          </p:cNvPr>
          <p:cNvSpPr/>
          <p:nvPr/>
        </p:nvSpPr>
        <p:spPr>
          <a:xfrm>
            <a:off x="3851166" y="5622800"/>
            <a:ext cx="182880" cy="182880"/>
          </a:xfrm>
          <a:prstGeom prst="ellipse">
            <a:avLst/>
          </a:prstGeom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</a:t>
            </a: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18ECCED3-56AF-4B06-BB5C-D19AF33668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9602447"/>
              </p:ext>
            </p:extLst>
          </p:nvPr>
        </p:nvGraphicFramePr>
        <p:xfrm>
          <a:off x="5141444" y="2323338"/>
          <a:ext cx="6028292" cy="2761835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60282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441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US" sz="1050" b="1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ey learnings so far</a:t>
                      </a:r>
                      <a:endParaRPr lang="en-US" sz="1050" b="1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174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00" b="0" kern="1200" baseline="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00" b="0" kern="1200" baseline="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969F45B4-38A8-4DD5-8410-09B3282521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4765906"/>
              </p:ext>
            </p:extLst>
          </p:nvPr>
        </p:nvGraphicFramePr>
        <p:xfrm>
          <a:off x="656287" y="3969910"/>
          <a:ext cx="4419857" cy="1115263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44198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0162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1" kern="12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Items for Management Attention</a:t>
                      </a:r>
                      <a:endParaRPr lang="en-US" sz="1050" b="1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1364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sz="1000" b="0" kern="1200" baseline="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84250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>
            <a:extLst>
              <a:ext uri="{FF2B5EF4-FFF2-40B4-BE49-F238E27FC236}">
                <a16:creationId xmlns:a16="http://schemas.microsoft.com/office/drawing/2014/main" id="{9D9E9E6C-6654-8342-AA2C-3DE7457E81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901" y="362199"/>
            <a:ext cx="10195200" cy="533400"/>
          </a:xfrm>
        </p:spPr>
        <p:txBody>
          <a:bodyPr>
            <a:noAutofit/>
          </a:bodyPr>
          <a:lstStyle/>
          <a:p>
            <a:r>
              <a:rPr lang="en-US" sz="4400" dirty="0"/>
              <a:t>KPMG Weekly Status Report ()</a:t>
            </a:r>
          </a:p>
        </p:txBody>
      </p:sp>
      <p:graphicFrame>
        <p:nvGraphicFramePr>
          <p:cNvPr id="40" name="Table 39">
            <a:extLst>
              <a:ext uri="{FF2B5EF4-FFF2-40B4-BE49-F238E27FC236}">
                <a16:creationId xmlns:a16="http://schemas.microsoft.com/office/drawing/2014/main" id="{375E2DEB-BBEF-467D-A97E-3EEC3F970A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8524001"/>
              </p:ext>
            </p:extLst>
          </p:nvPr>
        </p:nvGraphicFramePr>
        <p:xfrm>
          <a:off x="5250414" y="1456819"/>
          <a:ext cx="6536117" cy="3054094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65361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546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US" sz="1200" b="1" kern="1200" dirty="0">
                          <a:solidFill>
                            <a:schemeClr val="bg1"/>
                          </a:solidFill>
                        </a:rPr>
                        <a:t>Activities This Week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0263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sz="1050" b="0" kern="1200" baseline="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44" name="Table 43">
            <a:extLst>
              <a:ext uri="{FF2B5EF4-FFF2-40B4-BE49-F238E27FC236}">
                <a16:creationId xmlns:a16="http://schemas.microsoft.com/office/drawing/2014/main" id="{D4895631-12DE-4F41-85BE-27EB306509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9630453"/>
              </p:ext>
            </p:extLst>
          </p:nvPr>
        </p:nvGraphicFramePr>
        <p:xfrm>
          <a:off x="5245331" y="4582362"/>
          <a:ext cx="6542116" cy="1616307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65421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599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200" b="1" kern="1200" dirty="0">
                          <a:solidFill>
                            <a:schemeClr val="bg1"/>
                          </a:solidFill>
                        </a:rPr>
                        <a:t>Key Next Steps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564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sz="1050" b="0" kern="1200" baseline="0" dirty="0">
                        <a:solidFill>
                          <a:sysClr val="windowText" lastClr="00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28B082C8-EEAF-4243-94A5-11105D73A968}"/>
              </a:ext>
            </a:extLst>
          </p:cNvPr>
          <p:cNvGraphicFramePr>
            <a:graphicFrameLocks noGrp="1"/>
          </p:cNvGraphicFramePr>
          <p:nvPr/>
        </p:nvGraphicFramePr>
        <p:xfrm>
          <a:off x="540717" y="4579412"/>
          <a:ext cx="4579576" cy="1677223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45795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6127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chemeClr val="bg1"/>
                          </a:solidFill>
                        </a:rPr>
                        <a:t>Risk &amp; Dependencies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1595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50" b="0" kern="1200" baseline="0" dirty="0">
                          <a:solidFill>
                            <a:sysClr val="windowText" lastClr="000000"/>
                          </a:solidFill>
                        </a:rPr>
                        <a:t>None</a:t>
                      </a:r>
                      <a:endParaRPr lang="en-US" sz="1050" b="0" kern="1200" baseline="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49" name="Table 48">
            <a:extLst>
              <a:ext uri="{FF2B5EF4-FFF2-40B4-BE49-F238E27FC236}">
                <a16:creationId xmlns:a16="http://schemas.microsoft.com/office/drawing/2014/main" id="{5E211876-94C8-442B-B475-BACD27CF233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3678933"/>
              </p:ext>
            </p:extLst>
          </p:nvPr>
        </p:nvGraphicFramePr>
        <p:xfrm>
          <a:off x="540717" y="1457654"/>
          <a:ext cx="4577416" cy="2656282"/>
        </p:xfrm>
        <a:graphic>
          <a:graphicData uri="http://schemas.openxmlformats.org/drawingml/2006/table">
            <a:tbl>
              <a:tblPr/>
              <a:tblGrid>
                <a:gridCol w="232209">
                  <a:extLst>
                    <a:ext uri="{9D8B030D-6E8A-4147-A177-3AD203B41FA5}">
                      <a16:colId xmlns:a16="http://schemas.microsoft.com/office/drawing/2014/main" val="3835180085"/>
                    </a:ext>
                  </a:extLst>
                </a:gridCol>
                <a:gridCol w="26356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68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92642">
                  <a:extLst>
                    <a:ext uri="{9D8B030D-6E8A-4147-A177-3AD203B41FA5}">
                      <a16:colId xmlns:a16="http://schemas.microsoft.com/office/drawing/2014/main" val="1018344410"/>
                    </a:ext>
                  </a:extLst>
                </a:gridCol>
              </a:tblGrid>
              <a:tr h="300072">
                <a:tc>
                  <a:txBody>
                    <a:bodyPr/>
                    <a:lstStyle/>
                    <a:p>
                      <a:pPr marL="460375" marR="0" lvl="0" indent="0" algn="l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0" b="1" i="0" u="none" strike="noStrike" kern="1200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5EB8"/>
                    </a:solidFill>
                  </a:tcPr>
                </a:tc>
                <a:tc>
                  <a:txBody>
                    <a:bodyPr/>
                    <a:lstStyle/>
                    <a:p>
                      <a:pPr marL="460375" marR="0" lvl="0" indent="0" algn="l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          Milestone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5EB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Status</a:t>
                      </a:r>
                    </a:p>
                  </a:txBody>
                  <a:tcPr marL="18288" marR="18288" anchor="ctr" horzOverflow="overflow">
                    <a:lnL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5EB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Due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5E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687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7989A"/>
                        </a:buClr>
                        <a:buSzPct val="75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kern="1200" baseline="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7989A"/>
                        </a:buClr>
                        <a:buSzPct val="75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0" kern="1200" baseline="0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7989A"/>
                        </a:buClr>
                        <a:buSzPct val="75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kern="1200" baseline="0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7989A"/>
                        </a:buClr>
                        <a:buSzPct val="75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0" kern="1200" baseline="0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anchor="ctr" horzOverflow="overflow">
                    <a:lnL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182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7989A"/>
                        </a:buClr>
                        <a:buSzPct val="75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7989A"/>
                        </a:buClr>
                        <a:buSzPct val="75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7989A"/>
                        </a:buClr>
                        <a:buSzPct val="75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kern="1200" baseline="0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7989A"/>
                        </a:buClr>
                        <a:buSzPct val="75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anchor="ctr" horzOverflow="overflow">
                    <a:lnL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687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7989A"/>
                        </a:buClr>
                        <a:buSzPct val="75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7989A"/>
                        </a:buClr>
                        <a:buSzPct val="75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7989A"/>
                        </a:buClr>
                        <a:buSzPct val="75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kern="1200" baseline="0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7989A"/>
                        </a:buClr>
                        <a:buSzPct val="75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anchor="ctr" horzOverflow="overflow">
                    <a:lnL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687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7989A"/>
                        </a:buClr>
                        <a:buSzPct val="75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7989A"/>
                        </a:buClr>
                        <a:buSzPct val="75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7989A"/>
                        </a:buClr>
                        <a:buSzPct val="75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0" kern="1200" baseline="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7989A"/>
                        </a:buClr>
                        <a:buSzPct val="75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anchor="ctr" horzOverflow="overflow">
                    <a:lnL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942682"/>
                  </a:ext>
                </a:extLst>
              </a:tr>
              <a:tr h="38687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7989A"/>
                        </a:buClr>
                        <a:buSzPct val="75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7989A"/>
                        </a:buClr>
                        <a:buSzPct val="75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7989A"/>
                        </a:buClr>
                        <a:buSzPct val="75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0" kern="1200" baseline="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7989A"/>
                        </a:buClr>
                        <a:buSzPct val="75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anchor="ctr" horzOverflow="overflow">
                    <a:lnL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4508569"/>
                  </a:ext>
                </a:extLst>
              </a:tr>
              <a:tr h="38687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7989A"/>
                        </a:buClr>
                        <a:buSzPct val="75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7989A"/>
                        </a:buClr>
                        <a:buSzPct val="75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7989A"/>
                        </a:buClr>
                        <a:buSzPct val="75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kern="1200" baseline="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7989A"/>
                        </a:buClr>
                        <a:buSzPct val="75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anchor="ctr" horzOverflow="overflow">
                    <a:lnL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6449282"/>
                  </a:ext>
                </a:extLst>
              </a:tr>
            </a:tbl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E725452B-C220-41F6-8203-A641D9C11546}"/>
              </a:ext>
            </a:extLst>
          </p:cNvPr>
          <p:cNvGrpSpPr/>
          <p:nvPr/>
        </p:nvGrpSpPr>
        <p:grpSpPr>
          <a:xfrm>
            <a:off x="538557" y="4115425"/>
            <a:ext cx="4579576" cy="389489"/>
            <a:chOff x="617035" y="5548767"/>
            <a:chExt cx="5149426" cy="495627"/>
          </a:xfrm>
        </p:grpSpPr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E898E98-0F72-47DA-A315-AF5E2845C78E}"/>
                </a:ext>
              </a:extLst>
            </p:cNvPr>
            <p:cNvSpPr/>
            <p:nvPr/>
          </p:nvSpPr>
          <p:spPr>
            <a:xfrm>
              <a:off x="617035" y="5548767"/>
              <a:ext cx="5149426" cy="495627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0" rIns="54610" bIns="5461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Freeform 41">
              <a:extLst>
                <a:ext uri="{FF2B5EF4-FFF2-40B4-BE49-F238E27FC236}">
                  <a16:creationId xmlns:a16="http://schemas.microsoft.com/office/drawing/2014/main" id="{4C51AAE7-F841-4752-AA69-8D8DE7EC340F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544290" y="5765351"/>
              <a:ext cx="202265" cy="209386"/>
            </a:xfrm>
            <a:custGeom>
              <a:avLst/>
              <a:gdLst>
                <a:gd name="T0" fmla="*/ 68 w 150"/>
                <a:gd name="T1" fmla="*/ 61 h 149"/>
                <a:gd name="T2" fmla="*/ 46 w 150"/>
                <a:gd name="T3" fmla="*/ 84 h 149"/>
                <a:gd name="T4" fmla="*/ 46 w 150"/>
                <a:gd name="T5" fmla="*/ 65 h 149"/>
                <a:gd name="T6" fmla="*/ 75 w 150"/>
                <a:gd name="T7" fmla="*/ 34 h 149"/>
                <a:gd name="T8" fmla="*/ 104 w 150"/>
                <a:gd name="T9" fmla="*/ 65 h 149"/>
                <a:gd name="T10" fmla="*/ 104 w 150"/>
                <a:gd name="T11" fmla="*/ 84 h 149"/>
                <a:gd name="T12" fmla="*/ 82 w 150"/>
                <a:gd name="T13" fmla="*/ 61 h 149"/>
                <a:gd name="T14" fmla="*/ 82 w 150"/>
                <a:gd name="T15" fmla="*/ 113 h 149"/>
                <a:gd name="T16" fmla="*/ 68 w 150"/>
                <a:gd name="T17" fmla="*/ 113 h 149"/>
                <a:gd name="T18" fmla="*/ 68 w 150"/>
                <a:gd name="T19" fmla="*/ 61 h 149"/>
                <a:gd name="T20" fmla="*/ 10 w 150"/>
                <a:gd name="T21" fmla="*/ 75 h 149"/>
                <a:gd name="T22" fmla="*/ 75 w 150"/>
                <a:gd name="T23" fmla="*/ 9 h 149"/>
                <a:gd name="T24" fmla="*/ 140 w 150"/>
                <a:gd name="T25" fmla="*/ 75 h 149"/>
                <a:gd name="T26" fmla="*/ 75 w 150"/>
                <a:gd name="T27" fmla="*/ 140 h 149"/>
                <a:gd name="T28" fmla="*/ 10 w 150"/>
                <a:gd name="T29" fmla="*/ 75 h 149"/>
                <a:gd name="T30" fmla="*/ 0 w 150"/>
                <a:gd name="T31" fmla="*/ 75 h 149"/>
                <a:gd name="T32" fmla="*/ 75 w 150"/>
                <a:gd name="T33" fmla="*/ 149 h 149"/>
                <a:gd name="T34" fmla="*/ 150 w 150"/>
                <a:gd name="T35" fmla="*/ 75 h 149"/>
                <a:gd name="T36" fmla="*/ 75 w 150"/>
                <a:gd name="T37" fmla="*/ 0 h 149"/>
                <a:gd name="T38" fmla="*/ 0 w 150"/>
                <a:gd name="T39" fmla="*/ 75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0" h="149">
                  <a:moveTo>
                    <a:pt x="68" y="61"/>
                  </a:moveTo>
                  <a:cubicBezTo>
                    <a:pt x="46" y="84"/>
                    <a:pt x="46" y="84"/>
                    <a:pt x="46" y="84"/>
                  </a:cubicBezTo>
                  <a:cubicBezTo>
                    <a:pt x="46" y="65"/>
                    <a:pt x="46" y="65"/>
                    <a:pt x="46" y="65"/>
                  </a:cubicBezTo>
                  <a:cubicBezTo>
                    <a:pt x="75" y="34"/>
                    <a:pt x="75" y="34"/>
                    <a:pt x="75" y="34"/>
                  </a:cubicBezTo>
                  <a:cubicBezTo>
                    <a:pt x="104" y="65"/>
                    <a:pt x="104" y="65"/>
                    <a:pt x="104" y="65"/>
                  </a:cubicBezTo>
                  <a:cubicBezTo>
                    <a:pt x="104" y="84"/>
                    <a:pt x="104" y="84"/>
                    <a:pt x="104" y="84"/>
                  </a:cubicBezTo>
                  <a:cubicBezTo>
                    <a:pt x="82" y="61"/>
                    <a:pt x="82" y="61"/>
                    <a:pt x="82" y="61"/>
                  </a:cubicBezTo>
                  <a:cubicBezTo>
                    <a:pt x="82" y="113"/>
                    <a:pt x="82" y="113"/>
                    <a:pt x="82" y="113"/>
                  </a:cubicBezTo>
                  <a:cubicBezTo>
                    <a:pt x="68" y="113"/>
                    <a:pt x="68" y="113"/>
                    <a:pt x="68" y="113"/>
                  </a:cubicBezTo>
                  <a:lnTo>
                    <a:pt x="68" y="61"/>
                  </a:lnTo>
                  <a:close/>
                  <a:moveTo>
                    <a:pt x="10" y="75"/>
                  </a:moveTo>
                  <a:cubicBezTo>
                    <a:pt x="10" y="39"/>
                    <a:pt x="39" y="9"/>
                    <a:pt x="75" y="9"/>
                  </a:cubicBezTo>
                  <a:cubicBezTo>
                    <a:pt x="111" y="9"/>
                    <a:pt x="140" y="39"/>
                    <a:pt x="140" y="75"/>
                  </a:cubicBezTo>
                  <a:cubicBezTo>
                    <a:pt x="140" y="111"/>
                    <a:pt x="111" y="140"/>
                    <a:pt x="75" y="140"/>
                  </a:cubicBezTo>
                  <a:cubicBezTo>
                    <a:pt x="39" y="140"/>
                    <a:pt x="10" y="111"/>
                    <a:pt x="10" y="75"/>
                  </a:cubicBezTo>
                  <a:moveTo>
                    <a:pt x="0" y="75"/>
                  </a:moveTo>
                  <a:cubicBezTo>
                    <a:pt x="0" y="116"/>
                    <a:pt x="34" y="149"/>
                    <a:pt x="75" y="149"/>
                  </a:cubicBezTo>
                  <a:cubicBezTo>
                    <a:pt x="116" y="149"/>
                    <a:pt x="150" y="116"/>
                    <a:pt x="150" y="75"/>
                  </a:cubicBezTo>
                  <a:cubicBezTo>
                    <a:pt x="150" y="33"/>
                    <a:pt x="116" y="0"/>
                    <a:pt x="75" y="0"/>
                  </a:cubicBezTo>
                  <a:cubicBezTo>
                    <a:pt x="34" y="0"/>
                    <a:pt x="0" y="33"/>
                    <a:pt x="0" y="75"/>
                  </a:cubicBezTo>
                </a:path>
              </a:pathLst>
            </a:custGeom>
            <a:solidFill>
              <a:srgbClr val="00B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79" name="Freeform 42">
              <a:extLst>
                <a:ext uri="{FF2B5EF4-FFF2-40B4-BE49-F238E27FC236}">
                  <a16:creationId xmlns:a16="http://schemas.microsoft.com/office/drawing/2014/main" id="{82CC5FB8-1D4D-488C-87EA-8C70A3E9C4DB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674869" y="5765352"/>
              <a:ext cx="202265" cy="209386"/>
            </a:xfrm>
            <a:custGeom>
              <a:avLst/>
              <a:gdLst>
                <a:gd name="T0" fmla="*/ 99 w 150"/>
                <a:gd name="T1" fmla="*/ 107 h 150"/>
                <a:gd name="T2" fmla="*/ 75 w 150"/>
                <a:gd name="T3" fmla="*/ 90 h 150"/>
                <a:gd name="T4" fmla="*/ 51 w 150"/>
                <a:gd name="T5" fmla="*/ 107 h 150"/>
                <a:gd name="T6" fmla="*/ 60 w 150"/>
                <a:gd name="T7" fmla="*/ 79 h 150"/>
                <a:gd name="T8" fmla="*/ 36 w 150"/>
                <a:gd name="T9" fmla="*/ 62 h 150"/>
                <a:gd name="T10" fmla="*/ 66 w 150"/>
                <a:gd name="T11" fmla="*/ 62 h 150"/>
                <a:gd name="T12" fmla="*/ 75 w 150"/>
                <a:gd name="T13" fmla="*/ 33 h 150"/>
                <a:gd name="T14" fmla="*/ 85 w 150"/>
                <a:gd name="T15" fmla="*/ 62 h 150"/>
                <a:gd name="T16" fmla="*/ 114 w 150"/>
                <a:gd name="T17" fmla="*/ 62 h 150"/>
                <a:gd name="T18" fmla="*/ 90 w 150"/>
                <a:gd name="T19" fmla="*/ 79 h 150"/>
                <a:gd name="T20" fmla="*/ 99 w 150"/>
                <a:gd name="T21" fmla="*/ 107 h 150"/>
                <a:gd name="T22" fmla="*/ 150 w 150"/>
                <a:gd name="T23" fmla="*/ 75 h 150"/>
                <a:gd name="T24" fmla="*/ 75 w 150"/>
                <a:gd name="T25" fmla="*/ 0 h 150"/>
                <a:gd name="T26" fmla="*/ 0 w 150"/>
                <a:gd name="T27" fmla="*/ 75 h 150"/>
                <a:gd name="T28" fmla="*/ 75 w 150"/>
                <a:gd name="T29" fmla="*/ 150 h 150"/>
                <a:gd name="T30" fmla="*/ 150 w 150"/>
                <a:gd name="T31" fmla="*/ 75 h 150"/>
                <a:gd name="T32" fmla="*/ 141 w 150"/>
                <a:gd name="T33" fmla="*/ 75 h 150"/>
                <a:gd name="T34" fmla="*/ 75 w 150"/>
                <a:gd name="T35" fmla="*/ 140 h 150"/>
                <a:gd name="T36" fmla="*/ 10 w 150"/>
                <a:gd name="T37" fmla="*/ 75 h 150"/>
                <a:gd name="T38" fmla="*/ 75 w 150"/>
                <a:gd name="T39" fmla="*/ 9 h 150"/>
                <a:gd name="T40" fmla="*/ 141 w 150"/>
                <a:gd name="T41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0" h="150">
                  <a:moveTo>
                    <a:pt x="99" y="107"/>
                  </a:moveTo>
                  <a:cubicBezTo>
                    <a:pt x="75" y="90"/>
                    <a:pt x="75" y="90"/>
                    <a:pt x="75" y="90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60" y="79"/>
                    <a:pt x="60" y="79"/>
                    <a:pt x="60" y="79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75" y="33"/>
                    <a:pt x="75" y="33"/>
                    <a:pt x="75" y="33"/>
                  </a:cubicBezTo>
                  <a:cubicBezTo>
                    <a:pt x="85" y="62"/>
                    <a:pt x="85" y="62"/>
                    <a:pt x="85" y="62"/>
                  </a:cubicBezTo>
                  <a:cubicBezTo>
                    <a:pt x="114" y="62"/>
                    <a:pt x="114" y="62"/>
                    <a:pt x="114" y="62"/>
                  </a:cubicBezTo>
                  <a:cubicBezTo>
                    <a:pt x="90" y="79"/>
                    <a:pt x="90" y="79"/>
                    <a:pt x="90" y="79"/>
                  </a:cubicBezTo>
                  <a:lnTo>
                    <a:pt x="99" y="107"/>
                  </a:lnTo>
                  <a:close/>
                  <a:moveTo>
                    <a:pt x="150" y="75"/>
                  </a:moveTo>
                  <a:cubicBezTo>
                    <a:pt x="150" y="33"/>
                    <a:pt x="117" y="0"/>
                    <a:pt x="75" y="0"/>
                  </a:cubicBezTo>
                  <a:cubicBezTo>
                    <a:pt x="34" y="0"/>
                    <a:pt x="0" y="33"/>
                    <a:pt x="0" y="75"/>
                  </a:cubicBezTo>
                  <a:cubicBezTo>
                    <a:pt x="0" y="116"/>
                    <a:pt x="34" y="150"/>
                    <a:pt x="75" y="150"/>
                  </a:cubicBezTo>
                  <a:cubicBezTo>
                    <a:pt x="117" y="150"/>
                    <a:pt x="150" y="116"/>
                    <a:pt x="150" y="75"/>
                  </a:cubicBezTo>
                  <a:close/>
                  <a:moveTo>
                    <a:pt x="141" y="75"/>
                  </a:moveTo>
                  <a:cubicBezTo>
                    <a:pt x="141" y="111"/>
                    <a:pt x="111" y="140"/>
                    <a:pt x="75" y="140"/>
                  </a:cubicBezTo>
                  <a:cubicBezTo>
                    <a:pt x="39" y="140"/>
                    <a:pt x="10" y="111"/>
                    <a:pt x="10" y="75"/>
                  </a:cubicBezTo>
                  <a:cubicBezTo>
                    <a:pt x="10" y="38"/>
                    <a:pt x="39" y="9"/>
                    <a:pt x="75" y="9"/>
                  </a:cubicBezTo>
                  <a:cubicBezTo>
                    <a:pt x="111" y="9"/>
                    <a:pt x="141" y="38"/>
                    <a:pt x="141" y="75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80" name="Freeform 43">
              <a:extLst>
                <a:ext uri="{FF2B5EF4-FFF2-40B4-BE49-F238E27FC236}">
                  <a16:creationId xmlns:a16="http://schemas.microsoft.com/office/drawing/2014/main" id="{7B7F759D-F343-4D27-9EB3-59F0896BC257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4002101" y="5784299"/>
              <a:ext cx="202265" cy="209386"/>
            </a:xfrm>
            <a:custGeom>
              <a:avLst/>
              <a:gdLst>
                <a:gd name="T0" fmla="*/ 88 w 149"/>
                <a:gd name="T1" fmla="*/ 67 h 149"/>
                <a:gd name="T2" fmla="*/ 65 w 149"/>
                <a:gd name="T3" fmla="*/ 46 h 149"/>
                <a:gd name="T4" fmla="*/ 84 w 149"/>
                <a:gd name="T5" fmla="*/ 46 h 149"/>
                <a:gd name="T6" fmla="*/ 115 w 149"/>
                <a:gd name="T7" fmla="*/ 75 h 149"/>
                <a:gd name="T8" fmla="*/ 84 w 149"/>
                <a:gd name="T9" fmla="*/ 104 h 149"/>
                <a:gd name="T10" fmla="*/ 65 w 149"/>
                <a:gd name="T11" fmla="*/ 104 h 149"/>
                <a:gd name="T12" fmla="*/ 88 w 149"/>
                <a:gd name="T13" fmla="*/ 82 h 149"/>
                <a:gd name="T14" fmla="*/ 36 w 149"/>
                <a:gd name="T15" fmla="*/ 82 h 149"/>
                <a:gd name="T16" fmla="*/ 36 w 149"/>
                <a:gd name="T17" fmla="*/ 67 h 149"/>
                <a:gd name="T18" fmla="*/ 88 w 149"/>
                <a:gd name="T19" fmla="*/ 67 h 149"/>
                <a:gd name="T20" fmla="*/ 74 w 149"/>
                <a:gd name="T21" fmla="*/ 9 h 149"/>
                <a:gd name="T22" fmla="*/ 140 w 149"/>
                <a:gd name="T23" fmla="*/ 75 h 149"/>
                <a:gd name="T24" fmla="*/ 74 w 149"/>
                <a:gd name="T25" fmla="*/ 140 h 149"/>
                <a:gd name="T26" fmla="*/ 9 w 149"/>
                <a:gd name="T27" fmla="*/ 75 h 149"/>
                <a:gd name="T28" fmla="*/ 74 w 149"/>
                <a:gd name="T29" fmla="*/ 9 h 149"/>
                <a:gd name="T30" fmla="*/ 74 w 149"/>
                <a:gd name="T31" fmla="*/ 0 h 149"/>
                <a:gd name="T32" fmla="*/ 0 w 149"/>
                <a:gd name="T33" fmla="*/ 75 h 149"/>
                <a:gd name="T34" fmla="*/ 74 w 149"/>
                <a:gd name="T35" fmla="*/ 149 h 149"/>
                <a:gd name="T36" fmla="*/ 149 w 149"/>
                <a:gd name="T37" fmla="*/ 75 h 149"/>
                <a:gd name="T38" fmla="*/ 74 w 149"/>
                <a:gd name="T3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9" h="149">
                  <a:moveTo>
                    <a:pt x="88" y="67"/>
                  </a:moveTo>
                  <a:cubicBezTo>
                    <a:pt x="65" y="46"/>
                    <a:pt x="65" y="46"/>
                    <a:pt x="65" y="46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115" y="75"/>
                    <a:pt x="115" y="75"/>
                    <a:pt x="115" y="75"/>
                  </a:cubicBezTo>
                  <a:cubicBezTo>
                    <a:pt x="84" y="104"/>
                    <a:pt x="84" y="104"/>
                    <a:pt x="84" y="104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67"/>
                    <a:pt x="36" y="67"/>
                    <a:pt x="36" y="67"/>
                  </a:cubicBezTo>
                  <a:lnTo>
                    <a:pt x="88" y="67"/>
                  </a:lnTo>
                  <a:close/>
                  <a:moveTo>
                    <a:pt x="74" y="9"/>
                  </a:moveTo>
                  <a:cubicBezTo>
                    <a:pt x="110" y="9"/>
                    <a:pt x="140" y="39"/>
                    <a:pt x="140" y="75"/>
                  </a:cubicBezTo>
                  <a:cubicBezTo>
                    <a:pt x="140" y="111"/>
                    <a:pt x="110" y="140"/>
                    <a:pt x="74" y="140"/>
                  </a:cubicBezTo>
                  <a:cubicBezTo>
                    <a:pt x="38" y="140"/>
                    <a:pt x="9" y="111"/>
                    <a:pt x="9" y="75"/>
                  </a:cubicBezTo>
                  <a:cubicBezTo>
                    <a:pt x="9" y="39"/>
                    <a:pt x="38" y="9"/>
                    <a:pt x="74" y="9"/>
                  </a:cubicBezTo>
                  <a:moveTo>
                    <a:pt x="74" y="0"/>
                  </a:moveTo>
                  <a:cubicBezTo>
                    <a:pt x="33" y="0"/>
                    <a:pt x="0" y="33"/>
                    <a:pt x="0" y="75"/>
                  </a:cubicBezTo>
                  <a:cubicBezTo>
                    <a:pt x="0" y="116"/>
                    <a:pt x="33" y="149"/>
                    <a:pt x="74" y="149"/>
                  </a:cubicBezTo>
                  <a:cubicBezTo>
                    <a:pt x="116" y="149"/>
                    <a:pt x="149" y="116"/>
                    <a:pt x="149" y="75"/>
                  </a:cubicBezTo>
                  <a:cubicBezTo>
                    <a:pt x="149" y="33"/>
                    <a:pt x="116" y="0"/>
                    <a:pt x="74" y="0"/>
                  </a:cubicBezTo>
                </a:path>
              </a:pathLst>
            </a:custGeom>
            <a:solidFill>
              <a:srgbClr val="F68D2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81" name="Freeform 29">
              <a:extLst>
                <a:ext uri="{FF2B5EF4-FFF2-40B4-BE49-F238E27FC236}">
                  <a16:creationId xmlns:a16="http://schemas.microsoft.com/office/drawing/2014/main" id="{D5FFEFC4-DE3B-41A4-95D9-1568B108019C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2369778" y="5763918"/>
              <a:ext cx="202265" cy="209386"/>
            </a:xfrm>
            <a:custGeom>
              <a:avLst/>
              <a:gdLst>
                <a:gd name="T0" fmla="*/ 94 w 150"/>
                <a:gd name="T1" fmla="*/ 94 h 150"/>
                <a:gd name="T2" fmla="*/ 55 w 150"/>
                <a:gd name="T3" fmla="*/ 94 h 150"/>
                <a:gd name="T4" fmla="*/ 55 w 150"/>
                <a:gd name="T5" fmla="*/ 56 h 150"/>
                <a:gd name="T6" fmla="*/ 94 w 150"/>
                <a:gd name="T7" fmla="*/ 56 h 150"/>
                <a:gd name="T8" fmla="*/ 94 w 150"/>
                <a:gd name="T9" fmla="*/ 94 h 150"/>
                <a:gd name="T10" fmla="*/ 150 w 150"/>
                <a:gd name="T11" fmla="*/ 75 h 150"/>
                <a:gd name="T12" fmla="*/ 75 w 150"/>
                <a:gd name="T13" fmla="*/ 0 h 150"/>
                <a:gd name="T14" fmla="*/ 0 w 150"/>
                <a:gd name="T15" fmla="*/ 75 h 150"/>
                <a:gd name="T16" fmla="*/ 75 w 150"/>
                <a:gd name="T17" fmla="*/ 150 h 150"/>
                <a:gd name="T18" fmla="*/ 150 w 150"/>
                <a:gd name="T19" fmla="*/ 75 h 150"/>
                <a:gd name="T20" fmla="*/ 140 w 150"/>
                <a:gd name="T21" fmla="*/ 75 h 150"/>
                <a:gd name="T22" fmla="*/ 75 w 150"/>
                <a:gd name="T23" fmla="*/ 140 h 150"/>
                <a:gd name="T24" fmla="*/ 9 w 150"/>
                <a:gd name="T25" fmla="*/ 75 h 150"/>
                <a:gd name="T26" fmla="*/ 75 w 150"/>
                <a:gd name="T27" fmla="*/ 10 h 150"/>
                <a:gd name="T28" fmla="*/ 140 w 150"/>
                <a:gd name="T2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0" h="150">
                  <a:moveTo>
                    <a:pt x="94" y="94"/>
                  </a:moveTo>
                  <a:cubicBezTo>
                    <a:pt x="55" y="94"/>
                    <a:pt x="55" y="94"/>
                    <a:pt x="55" y="94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94" y="56"/>
                    <a:pt x="94" y="56"/>
                    <a:pt x="94" y="56"/>
                  </a:cubicBezTo>
                  <a:lnTo>
                    <a:pt x="94" y="94"/>
                  </a:lnTo>
                  <a:close/>
                  <a:moveTo>
                    <a:pt x="150" y="75"/>
                  </a:moveTo>
                  <a:cubicBezTo>
                    <a:pt x="150" y="34"/>
                    <a:pt x="116" y="0"/>
                    <a:pt x="75" y="0"/>
                  </a:cubicBezTo>
                  <a:cubicBezTo>
                    <a:pt x="33" y="0"/>
                    <a:pt x="0" y="34"/>
                    <a:pt x="0" y="75"/>
                  </a:cubicBezTo>
                  <a:cubicBezTo>
                    <a:pt x="0" y="116"/>
                    <a:pt x="33" y="150"/>
                    <a:pt x="75" y="150"/>
                  </a:cubicBezTo>
                  <a:cubicBezTo>
                    <a:pt x="116" y="150"/>
                    <a:pt x="150" y="116"/>
                    <a:pt x="150" y="75"/>
                  </a:cubicBezTo>
                  <a:close/>
                  <a:moveTo>
                    <a:pt x="140" y="75"/>
                  </a:moveTo>
                  <a:cubicBezTo>
                    <a:pt x="140" y="111"/>
                    <a:pt x="111" y="140"/>
                    <a:pt x="75" y="140"/>
                  </a:cubicBezTo>
                  <a:cubicBezTo>
                    <a:pt x="39" y="140"/>
                    <a:pt x="9" y="111"/>
                    <a:pt x="9" y="75"/>
                  </a:cubicBezTo>
                  <a:cubicBezTo>
                    <a:pt x="9" y="39"/>
                    <a:pt x="39" y="10"/>
                    <a:pt x="75" y="10"/>
                  </a:cubicBezTo>
                  <a:cubicBezTo>
                    <a:pt x="111" y="10"/>
                    <a:pt x="140" y="39"/>
                    <a:pt x="140" y="75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25CB912E-2F9E-4F02-A46E-28C6B0A9E2A0}"/>
                </a:ext>
              </a:extLst>
            </p:cNvPr>
            <p:cNvSpPr/>
            <p:nvPr/>
          </p:nvSpPr>
          <p:spPr>
            <a:xfrm>
              <a:off x="824862" y="5750527"/>
              <a:ext cx="642300" cy="2504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t started</a:t>
              </a: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7573265E-1EAB-4E69-BB81-DFEF752E326B}"/>
                </a:ext>
              </a:extLst>
            </p:cNvPr>
            <p:cNvSpPr/>
            <p:nvPr/>
          </p:nvSpPr>
          <p:spPr>
            <a:xfrm>
              <a:off x="1695041" y="5749132"/>
              <a:ext cx="540243" cy="2504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n track</a:t>
              </a: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F9C55A90-3866-419A-B0F4-23062BA9AF70}"/>
                </a:ext>
              </a:extLst>
            </p:cNvPr>
            <p:cNvSpPr/>
            <p:nvPr/>
          </p:nvSpPr>
          <p:spPr>
            <a:xfrm>
              <a:off x="2518140" y="5754726"/>
              <a:ext cx="583041" cy="2504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mplete</a:t>
              </a:r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15793111-2B66-4285-A8BF-42ECDED77811}"/>
                </a:ext>
              </a:extLst>
            </p:cNvPr>
            <p:cNvSpPr/>
            <p:nvPr/>
          </p:nvSpPr>
          <p:spPr>
            <a:xfrm>
              <a:off x="4146664" y="5774332"/>
              <a:ext cx="525428" cy="2504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layed</a:t>
              </a: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B2FF7232-18C3-4ED3-82BF-D6DC40E96F40}"/>
                </a:ext>
              </a:extLst>
            </p:cNvPr>
            <p:cNvSpPr/>
            <p:nvPr/>
          </p:nvSpPr>
          <p:spPr>
            <a:xfrm>
              <a:off x="5049148" y="5777848"/>
              <a:ext cx="622547" cy="2504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oadblock</a:t>
              </a:r>
            </a:p>
          </p:txBody>
        </p:sp>
        <p:sp>
          <p:nvSpPr>
            <p:cNvPr id="87" name="AutoShape 100">
              <a:extLst>
                <a:ext uri="{FF2B5EF4-FFF2-40B4-BE49-F238E27FC236}">
                  <a16:creationId xmlns:a16="http://schemas.microsoft.com/office/drawing/2014/main" id="{E170AA86-08B4-4486-B7F1-A566EECB6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9938" y="5796581"/>
              <a:ext cx="189035" cy="184331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0805" y="0"/>
                  </a:moveTo>
                  <a:cubicBezTo>
                    <a:pt x="12303" y="0"/>
                    <a:pt x="13704" y="282"/>
                    <a:pt x="15013" y="844"/>
                  </a:cubicBezTo>
                  <a:cubicBezTo>
                    <a:pt x="16321" y="1406"/>
                    <a:pt x="17465" y="2179"/>
                    <a:pt x="18449" y="3153"/>
                  </a:cubicBezTo>
                  <a:cubicBezTo>
                    <a:pt x="19432" y="4127"/>
                    <a:pt x="20204" y="5277"/>
                    <a:pt x="20760" y="6590"/>
                  </a:cubicBezTo>
                  <a:cubicBezTo>
                    <a:pt x="21323" y="7897"/>
                    <a:pt x="21599" y="9303"/>
                    <a:pt x="21599" y="10797"/>
                  </a:cubicBezTo>
                  <a:cubicBezTo>
                    <a:pt x="21599" y="12290"/>
                    <a:pt x="21323" y="13696"/>
                    <a:pt x="20760" y="15009"/>
                  </a:cubicBezTo>
                  <a:cubicBezTo>
                    <a:pt x="20204" y="16317"/>
                    <a:pt x="19432" y="17463"/>
                    <a:pt x="18449" y="18440"/>
                  </a:cubicBezTo>
                  <a:cubicBezTo>
                    <a:pt x="17465" y="19423"/>
                    <a:pt x="16321" y="20188"/>
                    <a:pt x="15013" y="20750"/>
                  </a:cubicBezTo>
                  <a:cubicBezTo>
                    <a:pt x="13704" y="21311"/>
                    <a:pt x="12303" y="21599"/>
                    <a:pt x="10805" y="21599"/>
                  </a:cubicBezTo>
                  <a:cubicBezTo>
                    <a:pt x="9310" y="21599"/>
                    <a:pt x="7906" y="21312"/>
                    <a:pt x="6595" y="20750"/>
                  </a:cubicBezTo>
                  <a:cubicBezTo>
                    <a:pt x="5281" y="20188"/>
                    <a:pt x="4136" y="19420"/>
                    <a:pt x="3156" y="18440"/>
                  </a:cubicBezTo>
                  <a:cubicBezTo>
                    <a:pt x="2178" y="17463"/>
                    <a:pt x="1407" y="16317"/>
                    <a:pt x="844" y="15009"/>
                  </a:cubicBezTo>
                  <a:cubicBezTo>
                    <a:pt x="279" y="13696"/>
                    <a:pt x="0" y="12290"/>
                    <a:pt x="0" y="10797"/>
                  </a:cubicBezTo>
                  <a:cubicBezTo>
                    <a:pt x="0" y="9303"/>
                    <a:pt x="279" y="7897"/>
                    <a:pt x="844" y="6590"/>
                  </a:cubicBezTo>
                  <a:cubicBezTo>
                    <a:pt x="1407" y="5277"/>
                    <a:pt x="2178" y="4130"/>
                    <a:pt x="3156" y="3153"/>
                  </a:cubicBezTo>
                  <a:cubicBezTo>
                    <a:pt x="4136" y="2176"/>
                    <a:pt x="5281" y="1406"/>
                    <a:pt x="6595" y="844"/>
                  </a:cubicBezTo>
                  <a:cubicBezTo>
                    <a:pt x="7906" y="279"/>
                    <a:pt x="9310" y="0"/>
                    <a:pt x="10805" y="0"/>
                  </a:cubicBezTo>
                  <a:moveTo>
                    <a:pt x="17042" y="9743"/>
                  </a:moveTo>
                  <a:cubicBezTo>
                    <a:pt x="17042" y="9616"/>
                    <a:pt x="16996" y="9512"/>
                    <a:pt x="16900" y="9424"/>
                  </a:cubicBezTo>
                  <a:cubicBezTo>
                    <a:pt x="16804" y="9343"/>
                    <a:pt x="16705" y="9297"/>
                    <a:pt x="16595" y="9297"/>
                  </a:cubicBezTo>
                  <a:lnTo>
                    <a:pt x="5015" y="9297"/>
                  </a:lnTo>
                  <a:cubicBezTo>
                    <a:pt x="4719" y="9297"/>
                    <a:pt x="4569" y="9453"/>
                    <a:pt x="4569" y="9744"/>
                  </a:cubicBezTo>
                  <a:lnTo>
                    <a:pt x="4569" y="11878"/>
                  </a:lnTo>
                  <a:cubicBezTo>
                    <a:pt x="4569" y="12175"/>
                    <a:pt x="4719" y="12324"/>
                    <a:pt x="5015" y="12324"/>
                  </a:cubicBezTo>
                  <a:lnTo>
                    <a:pt x="16595" y="12324"/>
                  </a:lnTo>
                  <a:cubicBezTo>
                    <a:pt x="16705" y="12324"/>
                    <a:pt x="16804" y="12279"/>
                    <a:pt x="16900" y="12197"/>
                  </a:cubicBezTo>
                  <a:cubicBezTo>
                    <a:pt x="16996" y="12110"/>
                    <a:pt x="17042" y="12005"/>
                    <a:pt x="17042" y="11878"/>
                  </a:cubicBezTo>
                  <a:lnTo>
                    <a:pt x="17042" y="9743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ffectLst/>
          </p:spPr>
          <p:txBody>
            <a:bodyPr lIns="28575" tIns="28575" rIns="28575" bIns="28575" anchor="ctr"/>
            <a:lstStyle/>
            <a:p>
              <a:pPr marL="0" marR="0" lvl="0" indent="0" algn="l" defTabSz="2571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100" b="0" i="0" u="none" strike="noStrike" kern="1200" cap="none" spc="0" normalizeH="0" baseline="0" noProof="0">
                <a:ln>
                  <a:noFill/>
                </a:ln>
                <a:solidFill>
                  <a:srgbClr val="44CEB9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-128"/>
                <a:sym typeface="Arial" charset="0"/>
              </a:endParaRPr>
            </a:p>
          </p:txBody>
        </p:sp>
        <p:sp>
          <p:nvSpPr>
            <p:cNvPr id="88" name="AutoShape 133">
              <a:extLst>
                <a:ext uri="{FF2B5EF4-FFF2-40B4-BE49-F238E27FC236}">
                  <a16:creationId xmlns:a16="http://schemas.microsoft.com/office/drawing/2014/main" id="{C75D9F56-403F-4E9F-95FD-9FEBECC980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9996" y="5764935"/>
              <a:ext cx="189794" cy="184331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0788" y="0"/>
                  </a:moveTo>
                  <a:cubicBezTo>
                    <a:pt x="11055" y="0"/>
                    <a:pt x="11283" y="97"/>
                    <a:pt x="11476" y="293"/>
                  </a:cubicBezTo>
                  <a:cubicBezTo>
                    <a:pt x="11667" y="495"/>
                    <a:pt x="11830" y="714"/>
                    <a:pt x="11957" y="964"/>
                  </a:cubicBezTo>
                  <a:lnTo>
                    <a:pt x="21320" y="19313"/>
                  </a:lnTo>
                  <a:cubicBezTo>
                    <a:pt x="21401" y="19460"/>
                    <a:pt x="21470" y="19615"/>
                    <a:pt x="21518" y="19785"/>
                  </a:cubicBezTo>
                  <a:cubicBezTo>
                    <a:pt x="21574" y="19958"/>
                    <a:pt x="21599" y="20139"/>
                    <a:pt x="21599" y="20329"/>
                  </a:cubicBezTo>
                  <a:cubicBezTo>
                    <a:pt x="21599" y="20782"/>
                    <a:pt x="21445" y="21107"/>
                    <a:pt x="21137" y="21303"/>
                  </a:cubicBezTo>
                  <a:cubicBezTo>
                    <a:pt x="20830" y="21501"/>
                    <a:pt x="20500" y="21599"/>
                    <a:pt x="20152" y="21599"/>
                  </a:cubicBezTo>
                  <a:lnTo>
                    <a:pt x="1447" y="21599"/>
                  </a:lnTo>
                  <a:cubicBezTo>
                    <a:pt x="1099" y="21599"/>
                    <a:pt x="772" y="21502"/>
                    <a:pt x="462" y="21303"/>
                  </a:cubicBezTo>
                  <a:cubicBezTo>
                    <a:pt x="154" y="21107"/>
                    <a:pt x="0" y="20782"/>
                    <a:pt x="0" y="20329"/>
                  </a:cubicBezTo>
                  <a:cubicBezTo>
                    <a:pt x="0" y="20148"/>
                    <a:pt x="25" y="19967"/>
                    <a:pt x="71" y="19794"/>
                  </a:cubicBezTo>
                  <a:cubicBezTo>
                    <a:pt x="121" y="19618"/>
                    <a:pt x="190" y="19460"/>
                    <a:pt x="279" y="19313"/>
                  </a:cubicBezTo>
                  <a:lnTo>
                    <a:pt x="9620" y="964"/>
                  </a:lnTo>
                  <a:cubicBezTo>
                    <a:pt x="9749" y="714"/>
                    <a:pt x="9907" y="495"/>
                    <a:pt x="10097" y="293"/>
                  </a:cubicBezTo>
                  <a:cubicBezTo>
                    <a:pt x="10290" y="97"/>
                    <a:pt x="10519" y="0"/>
                    <a:pt x="10788" y="0"/>
                  </a:cubicBezTo>
                  <a:moveTo>
                    <a:pt x="11629" y="15452"/>
                  </a:moveTo>
                  <a:cubicBezTo>
                    <a:pt x="11741" y="15452"/>
                    <a:pt x="11840" y="15402"/>
                    <a:pt x="11926" y="15308"/>
                  </a:cubicBezTo>
                  <a:cubicBezTo>
                    <a:pt x="12010" y="15210"/>
                    <a:pt x="12053" y="15097"/>
                    <a:pt x="12053" y="14971"/>
                  </a:cubicBezTo>
                  <a:lnTo>
                    <a:pt x="12236" y="6243"/>
                  </a:lnTo>
                  <a:cubicBezTo>
                    <a:pt x="12236" y="6113"/>
                    <a:pt x="12190" y="6001"/>
                    <a:pt x="12106" y="5906"/>
                  </a:cubicBezTo>
                  <a:cubicBezTo>
                    <a:pt x="12023" y="5808"/>
                    <a:pt x="11924" y="5762"/>
                    <a:pt x="11809" y="5762"/>
                  </a:cubicBezTo>
                  <a:lnTo>
                    <a:pt x="9790" y="5762"/>
                  </a:lnTo>
                  <a:cubicBezTo>
                    <a:pt x="9663" y="5762"/>
                    <a:pt x="9553" y="5808"/>
                    <a:pt x="9480" y="5906"/>
                  </a:cubicBezTo>
                  <a:cubicBezTo>
                    <a:pt x="9404" y="6001"/>
                    <a:pt x="9366" y="6113"/>
                    <a:pt x="9366" y="6243"/>
                  </a:cubicBezTo>
                  <a:lnTo>
                    <a:pt x="9513" y="14971"/>
                  </a:lnTo>
                  <a:cubicBezTo>
                    <a:pt x="9513" y="15097"/>
                    <a:pt x="9556" y="15210"/>
                    <a:pt x="9640" y="15308"/>
                  </a:cubicBezTo>
                  <a:cubicBezTo>
                    <a:pt x="9724" y="15403"/>
                    <a:pt x="9823" y="15452"/>
                    <a:pt x="9937" y="15452"/>
                  </a:cubicBezTo>
                  <a:lnTo>
                    <a:pt x="11629" y="15452"/>
                  </a:lnTo>
                  <a:close/>
                  <a:moveTo>
                    <a:pt x="12150" y="17257"/>
                  </a:moveTo>
                  <a:cubicBezTo>
                    <a:pt x="12150" y="17110"/>
                    <a:pt x="12114" y="16989"/>
                    <a:pt x="12040" y="16891"/>
                  </a:cubicBezTo>
                  <a:cubicBezTo>
                    <a:pt x="11969" y="16796"/>
                    <a:pt x="11868" y="16747"/>
                    <a:pt x="11738" y="16747"/>
                  </a:cubicBezTo>
                  <a:lnTo>
                    <a:pt x="9866" y="16747"/>
                  </a:lnTo>
                  <a:cubicBezTo>
                    <a:pt x="9752" y="16747"/>
                    <a:pt x="9653" y="16793"/>
                    <a:pt x="9569" y="16886"/>
                  </a:cubicBezTo>
                  <a:cubicBezTo>
                    <a:pt x="9482" y="16978"/>
                    <a:pt x="9439" y="17102"/>
                    <a:pt x="9439" y="17257"/>
                  </a:cubicBezTo>
                  <a:lnTo>
                    <a:pt x="9439" y="19284"/>
                  </a:lnTo>
                  <a:cubicBezTo>
                    <a:pt x="9439" y="19431"/>
                    <a:pt x="9482" y="19549"/>
                    <a:pt x="9569" y="19636"/>
                  </a:cubicBezTo>
                  <a:cubicBezTo>
                    <a:pt x="9653" y="19722"/>
                    <a:pt x="9752" y="19765"/>
                    <a:pt x="9866" y="19765"/>
                  </a:cubicBezTo>
                  <a:lnTo>
                    <a:pt x="11738" y="19765"/>
                  </a:lnTo>
                  <a:cubicBezTo>
                    <a:pt x="12020" y="19765"/>
                    <a:pt x="12160" y="19604"/>
                    <a:pt x="12150" y="19284"/>
                  </a:cubicBezTo>
                  <a:lnTo>
                    <a:pt x="12150" y="17257"/>
                  </a:lnTo>
                  <a:close/>
                </a:path>
              </a:pathLst>
            </a:custGeom>
            <a:solidFill>
              <a:srgbClr val="F68D2E"/>
            </a:solidFill>
            <a:ln>
              <a:noFill/>
            </a:ln>
            <a:effectLst/>
          </p:spPr>
          <p:txBody>
            <a:bodyPr lIns="28575" tIns="28575" rIns="28575" bIns="28575" anchor="ctr"/>
            <a:lstStyle/>
            <a:p>
              <a:pPr marL="0" marR="0" lvl="0" indent="0" algn="l" defTabSz="2571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100" b="0" i="0" u="none" strike="noStrike" kern="1200" cap="none" spc="0" normalizeH="0" baseline="0" noProof="0">
                <a:ln>
                  <a:noFill/>
                </a:ln>
                <a:solidFill>
                  <a:srgbClr val="44CEB9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-128"/>
                <a:sym typeface="Arial" charset="0"/>
              </a:endParaRP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D3E894AB-5DF1-4C70-AF36-100118839CCA}"/>
                </a:ext>
              </a:extLst>
            </p:cNvPr>
            <p:cNvSpPr/>
            <p:nvPr/>
          </p:nvSpPr>
          <p:spPr>
            <a:xfrm>
              <a:off x="3399638" y="5753613"/>
              <a:ext cx="480984" cy="2504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t Risk</a:t>
              </a:r>
            </a:p>
          </p:txBody>
        </p:sp>
      </p:grpSp>
      <p:sp>
        <p:nvSpPr>
          <p:cNvPr id="91" name="Freeform 29">
            <a:extLst>
              <a:ext uri="{FF2B5EF4-FFF2-40B4-BE49-F238E27FC236}">
                <a16:creationId xmlns:a16="http://schemas.microsoft.com/office/drawing/2014/main" id="{ACBD7894-F6A4-4F61-B696-623133B69E38}"/>
              </a:ext>
            </a:extLst>
          </p:cNvPr>
          <p:cNvSpPr>
            <a:spLocks noEditPoints="1"/>
          </p:cNvSpPr>
          <p:nvPr/>
        </p:nvSpPr>
        <p:spPr bwMode="black">
          <a:xfrm>
            <a:off x="3624021" y="1838765"/>
            <a:ext cx="202265" cy="209386"/>
          </a:xfrm>
          <a:custGeom>
            <a:avLst/>
            <a:gdLst>
              <a:gd name="T0" fmla="*/ 94 w 150"/>
              <a:gd name="T1" fmla="*/ 94 h 150"/>
              <a:gd name="T2" fmla="*/ 55 w 150"/>
              <a:gd name="T3" fmla="*/ 94 h 150"/>
              <a:gd name="T4" fmla="*/ 55 w 150"/>
              <a:gd name="T5" fmla="*/ 56 h 150"/>
              <a:gd name="T6" fmla="*/ 94 w 150"/>
              <a:gd name="T7" fmla="*/ 56 h 150"/>
              <a:gd name="T8" fmla="*/ 94 w 150"/>
              <a:gd name="T9" fmla="*/ 94 h 150"/>
              <a:gd name="T10" fmla="*/ 150 w 150"/>
              <a:gd name="T11" fmla="*/ 75 h 150"/>
              <a:gd name="T12" fmla="*/ 75 w 150"/>
              <a:gd name="T13" fmla="*/ 0 h 150"/>
              <a:gd name="T14" fmla="*/ 0 w 150"/>
              <a:gd name="T15" fmla="*/ 75 h 150"/>
              <a:gd name="T16" fmla="*/ 75 w 150"/>
              <a:gd name="T17" fmla="*/ 150 h 150"/>
              <a:gd name="T18" fmla="*/ 150 w 150"/>
              <a:gd name="T19" fmla="*/ 75 h 150"/>
              <a:gd name="T20" fmla="*/ 140 w 150"/>
              <a:gd name="T21" fmla="*/ 75 h 150"/>
              <a:gd name="T22" fmla="*/ 75 w 150"/>
              <a:gd name="T23" fmla="*/ 140 h 150"/>
              <a:gd name="T24" fmla="*/ 9 w 150"/>
              <a:gd name="T25" fmla="*/ 75 h 150"/>
              <a:gd name="T26" fmla="*/ 75 w 150"/>
              <a:gd name="T27" fmla="*/ 10 h 150"/>
              <a:gd name="T28" fmla="*/ 140 w 150"/>
              <a:gd name="T29" fmla="*/ 75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50" h="150">
                <a:moveTo>
                  <a:pt x="94" y="94"/>
                </a:moveTo>
                <a:cubicBezTo>
                  <a:pt x="55" y="94"/>
                  <a:pt x="55" y="94"/>
                  <a:pt x="55" y="94"/>
                </a:cubicBezTo>
                <a:cubicBezTo>
                  <a:pt x="55" y="56"/>
                  <a:pt x="55" y="56"/>
                  <a:pt x="55" y="56"/>
                </a:cubicBezTo>
                <a:cubicBezTo>
                  <a:pt x="94" y="56"/>
                  <a:pt x="94" y="56"/>
                  <a:pt x="94" y="56"/>
                </a:cubicBezTo>
                <a:lnTo>
                  <a:pt x="94" y="94"/>
                </a:lnTo>
                <a:close/>
                <a:moveTo>
                  <a:pt x="150" y="75"/>
                </a:moveTo>
                <a:cubicBezTo>
                  <a:pt x="150" y="34"/>
                  <a:pt x="116" y="0"/>
                  <a:pt x="75" y="0"/>
                </a:cubicBezTo>
                <a:cubicBezTo>
                  <a:pt x="33" y="0"/>
                  <a:pt x="0" y="34"/>
                  <a:pt x="0" y="75"/>
                </a:cubicBezTo>
                <a:cubicBezTo>
                  <a:pt x="0" y="116"/>
                  <a:pt x="33" y="150"/>
                  <a:pt x="75" y="150"/>
                </a:cubicBezTo>
                <a:cubicBezTo>
                  <a:pt x="116" y="150"/>
                  <a:pt x="150" y="116"/>
                  <a:pt x="150" y="75"/>
                </a:cubicBezTo>
                <a:close/>
                <a:moveTo>
                  <a:pt x="140" y="75"/>
                </a:moveTo>
                <a:cubicBezTo>
                  <a:pt x="140" y="111"/>
                  <a:pt x="111" y="140"/>
                  <a:pt x="75" y="140"/>
                </a:cubicBezTo>
                <a:cubicBezTo>
                  <a:pt x="39" y="140"/>
                  <a:pt x="9" y="111"/>
                  <a:pt x="9" y="75"/>
                </a:cubicBezTo>
                <a:cubicBezTo>
                  <a:pt x="9" y="39"/>
                  <a:pt x="39" y="10"/>
                  <a:pt x="75" y="10"/>
                </a:cubicBezTo>
                <a:cubicBezTo>
                  <a:pt x="111" y="10"/>
                  <a:pt x="140" y="39"/>
                  <a:pt x="140" y="75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92" name="Freeform 41">
            <a:extLst>
              <a:ext uri="{FF2B5EF4-FFF2-40B4-BE49-F238E27FC236}">
                <a16:creationId xmlns:a16="http://schemas.microsoft.com/office/drawing/2014/main" id="{0B42AFDF-AA71-4D83-B25B-2261A56A1BDB}"/>
              </a:ext>
            </a:extLst>
          </p:cNvPr>
          <p:cNvSpPr>
            <a:spLocks noEditPoints="1"/>
          </p:cNvSpPr>
          <p:nvPr/>
        </p:nvSpPr>
        <p:spPr bwMode="black">
          <a:xfrm>
            <a:off x="3624021" y="2252698"/>
            <a:ext cx="202265" cy="209386"/>
          </a:xfrm>
          <a:custGeom>
            <a:avLst/>
            <a:gdLst>
              <a:gd name="T0" fmla="*/ 68 w 150"/>
              <a:gd name="T1" fmla="*/ 61 h 149"/>
              <a:gd name="T2" fmla="*/ 46 w 150"/>
              <a:gd name="T3" fmla="*/ 84 h 149"/>
              <a:gd name="T4" fmla="*/ 46 w 150"/>
              <a:gd name="T5" fmla="*/ 65 h 149"/>
              <a:gd name="T6" fmla="*/ 75 w 150"/>
              <a:gd name="T7" fmla="*/ 34 h 149"/>
              <a:gd name="T8" fmla="*/ 104 w 150"/>
              <a:gd name="T9" fmla="*/ 65 h 149"/>
              <a:gd name="T10" fmla="*/ 104 w 150"/>
              <a:gd name="T11" fmla="*/ 84 h 149"/>
              <a:gd name="T12" fmla="*/ 82 w 150"/>
              <a:gd name="T13" fmla="*/ 61 h 149"/>
              <a:gd name="T14" fmla="*/ 82 w 150"/>
              <a:gd name="T15" fmla="*/ 113 h 149"/>
              <a:gd name="T16" fmla="*/ 68 w 150"/>
              <a:gd name="T17" fmla="*/ 113 h 149"/>
              <a:gd name="T18" fmla="*/ 68 w 150"/>
              <a:gd name="T19" fmla="*/ 61 h 149"/>
              <a:gd name="T20" fmla="*/ 10 w 150"/>
              <a:gd name="T21" fmla="*/ 75 h 149"/>
              <a:gd name="T22" fmla="*/ 75 w 150"/>
              <a:gd name="T23" fmla="*/ 9 h 149"/>
              <a:gd name="T24" fmla="*/ 140 w 150"/>
              <a:gd name="T25" fmla="*/ 75 h 149"/>
              <a:gd name="T26" fmla="*/ 75 w 150"/>
              <a:gd name="T27" fmla="*/ 140 h 149"/>
              <a:gd name="T28" fmla="*/ 10 w 150"/>
              <a:gd name="T29" fmla="*/ 75 h 149"/>
              <a:gd name="T30" fmla="*/ 0 w 150"/>
              <a:gd name="T31" fmla="*/ 75 h 149"/>
              <a:gd name="T32" fmla="*/ 75 w 150"/>
              <a:gd name="T33" fmla="*/ 149 h 149"/>
              <a:gd name="T34" fmla="*/ 150 w 150"/>
              <a:gd name="T35" fmla="*/ 75 h 149"/>
              <a:gd name="T36" fmla="*/ 75 w 150"/>
              <a:gd name="T37" fmla="*/ 0 h 149"/>
              <a:gd name="T38" fmla="*/ 0 w 150"/>
              <a:gd name="T39" fmla="*/ 75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50" h="149">
                <a:moveTo>
                  <a:pt x="68" y="61"/>
                </a:moveTo>
                <a:cubicBezTo>
                  <a:pt x="46" y="84"/>
                  <a:pt x="46" y="84"/>
                  <a:pt x="46" y="84"/>
                </a:cubicBezTo>
                <a:cubicBezTo>
                  <a:pt x="46" y="65"/>
                  <a:pt x="46" y="65"/>
                  <a:pt x="46" y="65"/>
                </a:cubicBezTo>
                <a:cubicBezTo>
                  <a:pt x="75" y="34"/>
                  <a:pt x="75" y="34"/>
                  <a:pt x="75" y="34"/>
                </a:cubicBezTo>
                <a:cubicBezTo>
                  <a:pt x="104" y="65"/>
                  <a:pt x="104" y="65"/>
                  <a:pt x="104" y="65"/>
                </a:cubicBezTo>
                <a:cubicBezTo>
                  <a:pt x="104" y="84"/>
                  <a:pt x="104" y="84"/>
                  <a:pt x="104" y="84"/>
                </a:cubicBezTo>
                <a:cubicBezTo>
                  <a:pt x="82" y="61"/>
                  <a:pt x="82" y="61"/>
                  <a:pt x="82" y="61"/>
                </a:cubicBezTo>
                <a:cubicBezTo>
                  <a:pt x="82" y="113"/>
                  <a:pt x="82" y="113"/>
                  <a:pt x="82" y="113"/>
                </a:cubicBezTo>
                <a:cubicBezTo>
                  <a:pt x="68" y="113"/>
                  <a:pt x="68" y="113"/>
                  <a:pt x="68" y="113"/>
                </a:cubicBezTo>
                <a:lnTo>
                  <a:pt x="68" y="61"/>
                </a:lnTo>
                <a:close/>
                <a:moveTo>
                  <a:pt x="10" y="75"/>
                </a:moveTo>
                <a:cubicBezTo>
                  <a:pt x="10" y="39"/>
                  <a:pt x="39" y="9"/>
                  <a:pt x="75" y="9"/>
                </a:cubicBezTo>
                <a:cubicBezTo>
                  <a:pt x="111" y="9"/>
                  <a:pt x="140" y="39"/>
                  <a:pt x="140" y="75"/>
                </a:cubicBezTo>
                <a:cubicBezTo>
                  <a:pt x="140" y="111"/>
                  <a:pt x="111" y="140"/>
                  <a:pt x="75" y="140"/>
                </a:cubicBezTo>
                <a:cubicBezTo>
                  <a:pt x="39" y="140"/>
                  <a:pt x="10" y="111"/>
                  <a:pt x="10" y="75"/>
                </a:cubicBezTo>
                <a:moveTo>
                  <a:pt x="0" y="75"/>
                </a:moveTo>
                <a:cubicBezTo>
                  <a:pt x="0" y="116"/>
                  <a:pt x="34" y="149"/>
                  <a:pt x="75" y="149"/>
                </a:cubicBezTo>
                <a:cubicBezTo>
                  <a:pt x="116" y="149"/>
                  <a:pt x="150" y="116"/>
                  <a:pt x="150" y="75"/>
                </a:cubicBezTo>
                <a:cubicBezTo>
                  <a:pt x="150" y="33"/>
                  <a:pt x="116" y="0"/>
                  <a:pt x="75" y="0"/>
                </a:cubicBezTo>
                <a:cubicBezTo>
                  <a:pt x="34" y="0"/>
                  <a:pt x="0" y="33"/>
                  <a:pt x="0" y="75"/>
                </a:cubicBezTo>
              </a:path>
            </a:pathLst>
          </a:custGeom>
          <a:solidFill>
            <a:srgbClr val="00B05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D2B41E69-BF3C-405B-8187-37D218FFFD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2037952"/>
              </p:ext>
            </p:extLst>
          </p:nvPr>
        </p:nvGraphicFramePr>
        <p:xfrm>
          <a:off x="9154081" y="91829"/>
          <a:ext cx="2707951" cy="27432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244327">
                  <a:extLst>
                    <a:ext uri="{9D8B030D-6E8A-4147-A177-3AD203B41FA5}">
                      <a16:colId xmlns:a16="http://schemas.microsoft.com/office/drawing/2014/main" val="2283137979"/>
                    </a:ext>
                  </a:extLst>
                </a:gridCol>
                <a:gridCol w="1463624">
                  <a:extLst>
                    <a:ext uri="{9D8B030D-6E8A-4147-A177-3AD203B41FA5}">
                      <a16:colId xmlns:a16="http://schemas.microsoft.com/office/drawing/2014/main" val="1777907880"/>
                    </a:ext>
                  </a:extLst>
                </a:gridCol>
              </a:tblGrid>
              <a:tr h="246865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Overall Status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Green</a:t>
                      </a:r>
                    </a:p>
                  </a:txBody>
                  <a:tcPr anchor="ctr">
                    <a:solidFill>
                      <a:srgbClr val="009A4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6030425"/>
                  </a:ext>
                </a:extLst>
              </a:tr>
            </a:tbl>
          </a:graphicData>
        </a:graphic>
      </p:graphicFrame>
      <p:sp>
        <p:nvSpPr>
          <p:cNvPr id="25" name="Freeform 42">
            <a:extLst>
              <a:ext uri="{FF2B5EF4-FFF2-40B4-BE49-F238E27FC236}">
                <a16:creationId xmlns:a16="http://schemas.microsoft.com/office/drawing/2014/main" id="{FA0899AA-E467-445D-B69A-662CBA3E256E}"/>
              </a:ext>
            </a:extLst>
          </p:cNvPr>
          <p:cNvSpPr>
            <a:spLocks noEditPoints="1"/>
          </p:cNvSpPr>
          <p:nvPr/>
        </p:nvSpPr>
        <p:spPr bwMode="black">
          <a:xfrm>
            <a:off x="3624021" y="2639304"/>
            <a:ext cx="202265" cy="215186"/>
          </a:xfrm>
          <a:custGeom>
            <a:avLst/>
            <a:gdLst>
              <a:gd name="T0" fmla="*/ 99 w 150"/>
              <a:gd name="T1" fmla="*/ 107 h 150"/>
              <a:gd name="T2" fmla="*/ 75 w 150"/>
              <a:gd name="T3" fmla="*/ 90 h 150"/>
              <a:gd name="T4" fmla="*/ 51 w 150"/>
              <a:gd name="T5" fmla="*/ 107 h 150"/>
              <a:gd name="T6" fmla="*/ 60 w 150"/>
              <a:gd name="T7" fmla="*/ 79 h 150"/>
              <a:gd name="T8" fmla="*/ 36 w 150"/>
              <a:gd name="T9" fmla="*/ 62 h 150"/>
              <a:gd name="T10" fmla="*/ 66 w 150"/>
              <a:gd name="T11" fmla="*/ 62 h 150"/>
              <a:gd name="T12" fmla="*/ 75 w 150"/>
              <a:gd name="T13" fmla="*/ 33 h 150"/>
              <a:gd name="T14" fmla="*/ 85 w 150"/>
              <a:gd name="T15" fmla="*/ 62 h 150"/>
              <a:gd name="T16" fmla="*/ 114 w 150"/>
              <a:gd name="T17" fmla="*/ 62 h 150"/>
              <a:gd name="T18" fmla="*/ 90 w 150"/>
              <a:gd name="T19" fmla="*/ 79 h 150"/>
              <a:gd name="T20" fmla="*/ 99 w 150"/>
              <a:gd name="T21" fmla="*/ 107 h 150"/>
              <a:gd name="T22" fmla="*/ 150 w 150"/>
              <a:gd name="T23" fmla="*/ 75 h 150"/>
              <a:gd name="T24" fmla="*/ 75 w 150"/>
              <a:gd name="T25" fmla="*/ 0 h 150"/>
              <a:gd name="T26" fmla="*/ 0 w 150"/>
              <a:gd name="T27" fmla="*/ 75 h 150"/>
              <a:gd name="T28" fmla="*/ 75 w 150"/>
              <a:gd name="T29" fmla="*/ 150 h 150"/>
              <a:gd name="T30" fmla="*/ 150 w 150"/>
              <a:gd name="T31" fmla="*/ 75 h 150"/>
              <a:gd name="T32" fmla="*/ 141 w 150"/>
              <a:gd name="T33" fmla="*/ 75 h 150"/>
              <a:gd name="T34" fmla="*/ 75 w 150"/>
              <a:gd name="T35" fmla="*/ 140 h 150"/>
              <a:gd name="T36" fmla="*/ 10 w 150"/>
              <a:gd name="T37" fmla="*/ 75 h 150"/>
              <a:gd name="T38" fmla="*/ 75 w 150"/>
              <a:gd name="T39" fmla="*/ 9 h 150"/>
              <a:gd name="T40" fmla="*/ 141 w 150"/>
              <a:gd name="T41" fmla="*/ 75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50" h="150">
                <a:moveTo>
                  <a:pt x="99" y="107"/>
                </a:moveTo>
                <a:cubicBezTo>
                  <a:pt x="75" y="90"/>
                  <a:pt x="75" y="90"/>
                  <a:pt x="75" y="90"/>
                </a:cubicBezTo>
                <a:cubicBezTo>
                  <a:pt x="51" y="107"/>
                  <a:pt x="51" y="107"/>
                  <a:pt x="51" y="107"/>
                </a:cubicBezTo>
                <a:cubicBezTo>
                  <a:pt x="60" y="79"/>
                  <a:pt x="60" y="79"/>
                  <a:pt x="60" y="79"/>
                </a:cubicBezTo>
                <a:cubicBezTo>
                  <a:pt x="36" y="62"/>
                  <a:pt x="36" y="62"/>
                  <a:pt x="36" y="62"/>
                </a:cubicBezTo>
                <a:cubicBezTo>
                  <a:pt x="66" y="62"/>
                  <a:pt x="66" y="62"/>
                  <a:pt x="66" y="62"/>
                </a:cubicBezTo>
                <a:cubicBezTo>
                  <a:pt x="75" y="33"/>
                  <a:pt x="75" y="33"/>
                  <a:pt x="75" y="33"/>
                </a:cubicBezTo>
                <a:cubicBezTo>
                  <a:pt x="85" y="62"/>
                  <a:pt x="85" y="62"/>
                  <a:pt x="85" y="62"/>
                </a:cubicBezTo>
                <a:cubicBezTo>
                  <a:pt x="114" y="62"/>
                  <a:pt x="114" y="62"/>
                  <a:pt x="114" y="62"/>
                </a:cubicBezTo>
                <a:cubicBezTo>
                  <a:pt x="90" y="79"/>
                  <a:pt x="90" y="79"/>
                  <a:pt x="90" y="79"/>
                </a:cubicBezTo>
                <a:lnTo>
                  <a:pt x="99" y="107"/>
                </a:lnTo>
                <a:close/>
                <a:moveTo>
                  <a:pt x="150" y="75"/>
                </a:moveTo>
                <a:cubicBezTo>
                  <a:pt x="150" y="33"/>
                  <a:pt x="117" y="0"/>
                  <a:pt x="75" y="0"/>
                </a:cubicBezTo>
                <a:cubicBezTo>
                  <a:pt x="34" y="0"/>
                  <a:pt x="0" y="33"/>
                  <a:pt x="0" y="75"/>
                </a:cubicBezTo>
                <a:cubicBezTo>
                  <a:pt x="0" y="116"/>
                  <a:pt x="34" y="150"/>
                  <a:pt x="75" y="150"/>
                </a:cubicBezTo>
                <a:cubicBezTo>
                  <a:pt x="117" y="150"/>
                  <a:pt x="150" y="116"/>
                  <a:pt x="150" y="75"/>
                </a:cubicBezTo>
                <a:close/>
                <a:moveTo>
                  <a:pt x="141" y="75"/>
                </a:moveTo>
                <a:cubicBezTo>
                  <a:pt x="141" y="111"/>
                  <a:pt x="111" y="140"/>
                  <a:pt x="75" y="140"/>
                </a:cubicBezTo>
                <a:cubicBezTo>
                  <a:pt x="39" y="140"/>
                  <a:pt x="10" y="111"/>
                  <a:pt x="10" y="75"/>
                </a:cubicBezTo>
                <a:cubicBezTo>
                  <a:pt x="10" y="38"/>
                  <a:pt x="39" y="9"/>
                  <a:pt x="75" y="9"/>
                </a:cubicBezTo>
                <a:cubicBezTo>
                  <a:pt x="111" y="9"/>
                  <a:pt x="141" y="38"/>
                  <a:pt x="141" y="7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26" name="Freeform 42">
            <a:extLst>
              <a:ext uri="{FF2B5EF4-FFF2-40B4-BE49-F238E27FC236}">
                <a16:creationId xmlns:a16="http://schemas.microsoft.com/office/drawing/2014/main" id="{2F8CA754-BA15-48D3-B51F-6EE609AF476F}"/>
              </a:ext>
            </a:extLst>
          </p:cNvPr>
          <p:cNvSpPr>
            <a:spLocks noEditPoints="1"/>
          </p:cNvSpPr>
          <p:nvPr/>
        </p:nvSpPr>
        <p:spPr bwMode="black">
          <a:xfrm>
            <a:off x="3624021" y="3032773"/>
            <a:ext cx="202265" cy="215186"/>
          </a:xfrm>
          <a:custGeom>
            <a:avLst/>
            <a:gdLst>
              <a:gd name="T0" fmla="*/ 99 w 150"/>
              <a:gd name="T1" fmla="*/ 107 h 150"/>
              <a:gd name="T2" fmla="*/ 75 w 150"/>
              <a:gd name="T3" fmla="*/ 90 h 150"/>
              <a:gd name="T4" fmla="*/ 51 w 150"/>
              <a:gd name="T5" fmla="*/ 107 h 150"/>
              <a:gd name="T6" fmla="*/ 60 w 150"/>
              <a:gd name="T7" fmla="*/ 79 h 150"/>
              <a:gd name="T8" fmla="*/ 36 w 150"/>
              <a:gd name="T9" fmla="*/ 62 h 150"/>
              <a:gd name="T10" fmla="*/ 66 w 150"/>
              <a:gd name="T11" fmla="*/ 62 h 150"/>
              <a:gd name="T12" fmla="*/ 75 w 150"/>
              <a:gd name="T13" fmla="*/ 33 h 150"/>
              <a:gd name="T14" fmla="*/ 85 w 150"/>
              <a:gd name="T15" fmla="*/ 62 h 150"/>
              <a:gd name="T16" fmla="*/ 114 w 150"/>
              <a:gd name="T17" fmla="*/ 62 h 150"/>
              <a:gd name="T18" fmla="*/ 90 w 150"/>
              <a:gd name="T19" fmla="*/ 79 h 150"/>
              <a:gd name="T20" fmla="*/ 99 w 150"/>
              <a:gd name="T21" fmla="*/ 107 h 150"/>
              <a:gd name="T22" fmla="*/ 150 w 150"/>
              <a:gd name="T23" fmla="*/ 75 h 150"/>
              <a:gd name="T24" fmla="*/ 75 w 150"/>
              <a:gd name="T25" fmla="*/ 0 h 150"/>
              <a:gd name="T26" fmla="*/ 0 w 150"/>
              <a:gd name="T27" fmla="*/ 75 h 150"/>
              <a:gd name="T28" fmla="*/ 75 w 150"/>
              <a:gd name="T29" fmla="*/ 150 h 150"/>
              <a:gd name="T30" fmla="*/ 150 w 150"/>
              <a:gd name="T31" fmla="*/ 75 h 150"/>
              <a:gd name="T32" fmla="*/ 141 w 150"/>
              <a:gd name="T33" fmla="*/ 75 h 150"/>
              <a:gd name="T34" fmla="*/ 75 w 150"/>
              <a:gd name="T35" fmla="*/ 140 h 150"/>
              <a:gd name="T36" fmla="*/ 10 w 150"/>
              <a:gd name="T37" fmla="*/ 75 h 150"/>
              <a:gd name="T38" fmla="*/ 75 w 150"/>
              <a:gd name="T39" fmla="*/ 9 h 150"/>
              <a:gd name="T40" fmla="*/ 141 w 150"/>
              <a:gd name="T41" fmla="*/ 75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50" h="150">
                <a:moveTo>
                  <a:pt x="99" y="107"/>
                </a:moveTo>
                <a:cubicBezTo>
                  <a:pt x="75" y="90"/>
                  <a:pt x="75" y="90"/>
                  <a:pt x="75" y="90"/>
                </a:cubicBezTo>
                <a:cubicBezTo>
                  <a:pt x="51" y="107"/>
                  <a:pt x="51" y="107"/>
                  <a:pt x="51" y="107"/>
                </a:cubicBezTo>
                <a:cubicBezTo>
                  <a:pt x="60" y="79"/>
                  <a:pt x="60" y="79"/>
                  <a:pt x="60" y="79"/>
                </a:cubicBezTo>
                <a:cubicBezTo>
                  <a:pt x="36" y="62"/>
                  <a:pt x="36" y="62"/>
                  <a:pt x="36" y="62"/>
                </a:cubicBezTo>
                <a:cubicBezTo>
                  <a:pt x="66" y="62"/>
                  <a:pt x="66" y="62"/>
                  <a:pt x="66" y="62"/>
                </a:cubicBezTo>
                <a:cubicBezTo>
                  <a:pt x="75" y="33"/>
                  <a:pt x="75" y="33"/>
                  <a:pt x="75" y="33"/>
                </a:cubicBezTo>
                <a:cubicBezTo>
                  <a:pt x="85" y="62"/>
                  <a:pt x="85" y="62"/>
                  <a:pt x="85" y="62"/>
                </a:cubicBezTo>
                <a:cubicBezTo>
                  <a:pt x="114" y="62"/>
                  <a:pt x="114" y="62"/>
                  <a:pt x="114" y="62"/>
                </a:cubicBezTo>
                <a:cubicBezTo>
                  <a:pt x="90" y="79"/>
                  <a:pt x="90" y="79"/>
                  <a:pt x="90" y="79"/>
                </a:cubicBezTo>
                <a:lnTo>
                  <a:pt x="99" y="107"/>
                </a:lnTo>
                <a:close/>
                <a:moveTo>
                  <a:pt x="150" y="75"/>
                </a:moveTo>
                <a:cubicBezTo>
                  <a:pt x="150" y="33"/>
                  <a:pt x="117" y="0"/>
                  <a:pt x="75" y="0"/>
                </a:cubicBezTo>
                <a:cubicBezTo>
                  <a:pt x="34" y="0"/>
                  <a:pt x="0" y="33"/>
                  <a:pt x="0" y="75"/>
                </a:cubicBezTo>
                <a:cubicBezTo>
                  <a:pt x="0" y="116"/>
                  <a:pt x="34" y="150"/>
                  <a:pt x="75" y="150"/>
                </a:cubicBezTo>
                <a:cubicBezTo>
                  <a:pt x="117" y="150"/>
                  <a:pt x="150" y="116"/>
                  <a:pt x="150" y="75"/>
                </a:cubicBezTo>
                <a:close/>
                <a:moveTo>
                  <a:pt x="141" y="75"/>
                </a:moveTo>
                <a:cubicBezTo>
                  <a:pt x="141" y="111"/>
                  <a:pt x="111" y="140"/>
                  <a:pt x="75" y="140"/>
                </a:cubicBezTo>
                <a:cubicBezTo>
                  <a:pt x="39" y="140"/>
                  <a:pt x="10" y="111"/>
                  <a:pt x="10" y="75"/>
                </a:cubicBezTo>
                <a:cubicBezTo>
                  <a:pt x="10" y="38"/>
                  <a:pt x="39" y="9"/>
                  <a:pt x="75" y="9"/>
                </a:cubicBezTo>
                <a:cubicBezTo>
                  <a:pt x="111" y="9"/>
                  <a:pt x="141" y="38"/>
                  <a:pt x="141" y="7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27" name="Freeform 42">
            <a:extLst>
              <a:ext uri="{FF2B5EF4-FFF2-40B4-BE49-F238E27FC236}">
                <a16:creationId xmlns:a16="http://schemas.microsoft.com/office/drawing/2014/main" id="{B6FB811F-F93B-4DBB-A40F-B1C46E3F0D25}"/>
              </a:ext>
            </a:extLst>
          </p:cNvPr>
          <p:cNvSpPr>
            <a:spLocks noEditPoints="1"/>
          </p:cNvSpPr>
          <p:nvPr/>
        </p:nvSpPr>
        <p:spPr bwMode="black">
          <a:xfrm>
            <a:off x="3624021" y="3424584"/>
            <a:ext cx="202265" cy="215186"/>
          </a:xfrm>
          <a:custGeom>
            <a:avLst/>
            <a:gdLst>
              <a:gd name="T0" fmla="*/ 99 w 150"/>
              <a:gd name="T1" fmla="*/ 107 h 150"/>
              <a:gd name="T2" fmla="*/ 75 w 150"/>
              <a:gd name="T3" fmla="*/ 90 h 150"/>
              <a:gd name="T4" fmla="*/ 51 w 150"/>
              <a:gd name="T5" fmla="*/ 107 h 150"/>
              <a:gd name="T6" fmla="*/ 60 w 150"/>
              <a:gd name="T7" fmla="*/ 79 h 150"/>
              <a:gd name="T8" fmla="*/ 36 w 150"/>
              <a:gd name="T9" fmla="*/ 62 h 150"/>
              <a:gd name="T10" fmla="*/ 66 w 150"/>
              <a:gd name="T11" fmla="*/ 62 h 150"/>
              <a:gd name="T12" fmla="*/ 75 w 150"/>
              <a:gd name="T13" fmla="*/ 33 h 150"/>
              <a:gd name="T14" fmla="*/ 85 w 150"/>
              <a:gd name="T15" fmla="*/ 62 h 150"/>
              <a:gd name="T16" fmla="*/ 114 w 150"/>
              <a:gd name="T17" fmla="*/ 62 h 150"/>
              <a:gd name="T18" fmla="*/ 90 w 150"/>
              <a:gd name="T19" fmla="*/ 79 h 150"/>
              <a:gd name="T20" fmla="*/ 99 w 150"/>
              <a:gd name="T21" fmla="*/ 107 h 150"/>
              <a:gd name="T22" fmla="*/ 150 w 150"/>
              <a:gd name="T23" fmla="*/ 75 h 150"/>
              <a:gd name="T24" fmla="*/ 75 w 150"/>
              <a:gd name="T25" fmla="*/ 0 h 150"/>
              <a:gd name="T26" fmla="*/ 0 w 150"/>
              <a:gd name="T27" fmla="*/ 75 h 150"/>
              <a:gd name="T28" fmla="*/ 75 w 150"/>
              <a:gd name="T29" fmla="*/ 150 h 150"/>
              <a:gd name="T30" fmla="*/ 150 w 150"/>
              <a:gd name="T31" fmla="*/ 75 h 150"/>
              <a:gd name="T32" fmla="*/ 141 w 150"/>
              <a:gd name="T33" fmla="*/ 75 h 150"/>
              <a:gd name="T34" fmla="*/ 75 w 150"/>
              <a:gd name="T35" fmla="*/ 140 h 150"/>
              <a:gd name="T36" fmla="*/ 10 w 150"/>
              <a:gd name="T37" fmla="*/ 75 h 150"/>
              <a:gd name="T38" fmla="*/ 75 w 150"/>
              <a:gd name="T39" fmla="*/ 9 h 150"/>
              <a:gd name="T40" fmla="*/ 141 w 150"/>
              <a:gd name="T41" fmla="*/ 75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50" h="150">
                <a:moveTo>
                  <a:pt x="99" y="107"/>
                </a:moveTo>
                <a:cubicBezTo>
                  <a:pt x="75" y="90"/>
                  <a:pt x="75" y="90"/>
                  <a:pt x="75" y="90"/>
                </a:cubicBezTo>
                <a:cubicBezTo>
                  <a:pt x="51" y="107"/>
                  <a:pt x="51" y="107"/>
                  <a:pt x="51" y="107"/>
                </a:cubicBezTo>
                <a:cubicBezTo>
                  <a:pt x="60" y="79"/>
                  <a:pt x="60" y="79"/>
                  <a:pt x="60" y="79"/>
                </a:cubicBezTo>
                <a:cubicBezTo>
                  <a:pt x="36" y="62"/>
                  <a:pt x="36" y="62"/>
                  <a:pt x="36" y="62"/>
                </a:cubicBezTo>
                <a:cubicBezTo>
                  <a:pt x="66" y="62"/>
                  <a:pt x="66" y="62"/>
                  <a:pt x="66" y="62"/>
                </a:cubicBezTo>
                <a:cubicBezTo>
                  <a:pt x="75" y="33"/>
                  <a:pt x="75" y="33"/>
                  <a:pt x="75" y="33"/>
                </a:cubicBezTo>
                <a:cubicBezTo>
                  <a:pt x="85" y="62"/>
                  <a:pt x="85" y="62"/>
                  <a:pt x="85" y="62"/>
                </a:cubicBezTo>
                <a:cubicBezTo>
                  <a:pt x="114" y="62"/>
                  <a:pt x="114" y="62"/>
                  <a:pt x="114" y="62"/>
                </a:cubicBezTo>
                <a:cubicBezTo>
                  <a:pt x="90" y="79"/>
                  <a:pt x="90" y="79"/>
                  <a:pt x="90" y="79"/>
                </a:cubicBezTo>
                <a:lnTo>
                  <a:pt x="99" y="107"/>
                </a:lnTo>
                <a:close/>
                <a:moveTo>
                  <a:pt x="150" y="75"/>
                </a:moveTo>
                <a:cubicBezTo>
                  <a:pt x="150" y="33"/>
                  <a:pt x="117" y="0"/>
                  <a:pt x="75" y="0"/>
                </a:cubicBezTo>
                <a:cubicBezTo>
                  <a:pt x="34" y="0"/>
                  <a:pt x="0" y="33"/>
                  <a:pt x="0" y="75"/>
                </a:cubicBezTo>
                <a:cubicBezTo>
                  <a:pt x="0" y="116"/>
                  <a:pt x="34" y="150"/>
                  <a:pt x="75" y="150"/>
                </a:cubicBezTo>
                <a:cubicBezTo>
                  <a:pt x="117" y="150"/>
                  <a:pt x="150" y="116"/>
                  <a:pt x="150" y="75"/>
                </a:cubicBezTo>
                <a:close/>
                <a:moveTo>
                  <a:pt x="141" y="75"/>
                </a:moveTo>
                <a:cubicBezTo>
                  <a:pt x="141" y="111"/>
                  <a:pt x="111" y="140"/>
                  <a:pt x="75" y="140"/>
                </a:cubicBezTo>
                <a:cubicBezTo>
                  <a:pt x="39" y="140"/>
                  <a:pt x="10" y="111"/>
                  <a:pt x="10" y="75"/>
                </a:cubicBezTo>
                <a:cubicBezTo>
                  <a:pt x="10" y="38"/>
                  <a:pt x="39" y="9"/>
                  <a:pt x="75" y="9"/>
                </a:cubicBezTo>
                <a:cubicBezTo>
                  <a:pt x="111" y="9"/>
                  <a:pt x="141" y="38"/>
                  <a:pt x="141" y="7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28" name="Freeform 42">
            <a:extLst>
              <a:ext uri="{FF2B5EF4-FFF2-40B4-BE49-F238E27FC236}">
                <a16:creationId xmlns:a16="http://schemas.microsoft.com/office/drawing/2014/main" id="{67189A91-D2D7-4941-8F09-3113D6007A11}"/>
              </a:ext>
            </a:extLst>
          </p:cNvPr>
          <p:cNvSpPr>
            <a:spLocks noEditPoints="1"/>
          </p:cNvSpPr>
          <p:nvPr/>
        </p:nvSpPr>
        <p:spPr bwMode="black">
          <a:xfrm>
            <a:off x="3624021" y="3816395"/>
            <a:ext cx="202265" cy="215186"/>
          </a:xfrm>
          <a:custGeom>
            <a:avLst/>
            <a:gdLst>
              <a:gd name="T0" fmla="*/ 99 w 150"/>
              <a:gd name="T1" fmla="*/ 107 h 150"/>
              <a:gd name="T2" fmla="*/ 75 w 150"/>
              <a:gd name="T3" fmla="*/ 90 h 150"/>
              <a:gd name="T4" fmla="*/ 51 w 150"/>
              <a:gd name="T5" fmla="*/ 107 h 150"/>
              <a:gd name="T6" fmla="*/ 60 w 150"/>
              <a:gd name="T7" fmla="*/ 79 h 150"/>
              <a:gd name="T8" fmla="*/ 36 w 150"/>
              <a:gd name="T9" fmla="*/ 62 h 150"/>
              <a:gd name="T10" fmla="*/ 66 w 150"/>
              <a:gd name="T11" fmla="*/ 62 h 150"/>
              <a:gd name="T12" fmla="*/ 75 w 150"/>
              <a:gd name="T13" fmla="*/ 33 h 150"/>
              <a:gd name="T14" fmla="*/ 85 w 150"/>
              <a:gd name="T15" fmla="*/ 62 h 150"/>
              <a:gd name="T16" fmla="*/ 114 w 150"/>
              <a:gd name="T17" fmla="*/ 62 h 150"/>
              <a:gd name="T18" fmla="*/ 90 w 150"/>
              <a:gd name="T19" fmla="*/ 79 h 150"/>
              <a:gd name="T20" fmla="*/ 99 w 150"/>
              <a:gd name="T21" fmla="*/ 107 h 150"/>
              <a:gd name="T22" fmla="*/ 150 w 150"/>
              <a:gd name="T23" fmla="*/ 75 h 150"/>
              <a:gd name="T24" fmla="*/ 75 w 150"/>
              <a:gd name="T25" fmla="*/ 0 h 150"/>
              <a:gd name="T26" fmla="*/ 0 w 150"/>
              <a:gd name="T27" fmla="*/ 75 h 150"/>
              <a:gd name="T28" fmla="*/ 75 w 150"/>
              <a:gd name="T29" fmla="*/ 150 h 150"/>
              <a:gd name="T30" fmla="*/ 150 w 150"/>
              <a:gd name="T31" fmla="*/ 75 h 150"/>
              <a:gd name="T32" fmla="*/ 141 w 150"/>
              <a:gd name="T33" fmla="*/ 75 h 150"/>
              <a:gd name="T34" fmla="*/ 75 w 150"/>
              <a:gd name="T35" fmla="*/ 140 h 150"/>
              <a:gd name="T36" fmla="*/ 10 w 150"/>
              <a:gd name="T37" fmla="*/ 75 h 150"/>
              <a:gd name="T38" fmla="*/ 75 w 150"/>
              <a:gd name="T39" fmla="*/ 9 h 150"/>
              <a:gd name="T40" fmla="*/ 141 w 150"/>
              <a:gd name="T41" fmla="*/ 75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50" h="150">
                <a:moveTo>
                  <a:pt x="99" y="107"/>
                </a:moveTo>
                <a:cubicBezTo>
                  <a:pt x="75" y="90"/>
                  <a:pt x="75" y="90"/>
                  <a:pt x="75" y="90"/>
                </a:cubicBezTo>
                <a:cubicBezTo>
                  <a:pt x="51" y="107"/>
                  <a:pt x="51" y="107"/>
                  <a:pt x="51" y="107"/>
                </a:cubicBezTo>
                <a:cubicBezTo>
                  <a:pt x="60" y="79"/>
                  <a:pt x="60" y="79"/>
                  <a:pt x="60" y="79"/>
                </a:cubicBezTo>
                <a:cubicBezTo>
                  <a:pt x="36" y="62"/>
                  <a:pt x="36" y="62"/>
                  <a:pt x="36" y="62"/>
                </a:cubicBezTo>
                <a:cubicBezTo>
                  <a:pt x="66" y="62"/>
                  <a:pt x="66" y="62"/>
                  <a:pt x="66" y="62"/>
                </a:cubicBezTo>
                <a:cubicBezTo>
                  <a:pt x="75" y="33"/>
                  <a:pt x="75" y="33"/>
                  <a:pt x="75" y="33"/>
                </a:cubicBezTo>
                <a:cubicBezTo>
                  <a:pt x="85" y="62"/>
                  <a:pt x="85" y="62"/>
                  <a:pt x="85" y="62"/>
                </a:cubicBezTo>
                <a:cubicBezTo>
                  <a:pt x="114" y="62"/>
                  <a:pt x="114" y="62"/>
                  <a:pt x="114" y="62"/>
                </a:cubicBezTo>
                <a:cubicBezTo>
                  <a:pt x="90" y="79"/>
                  <a:pt x="90" y="79"/>
                  <a:pt x="90" y="79"/>
                </a:cubicBezTo>
                <a:lnTo>
                  <a:pt x="99" y="107"/>
                </a:lnTo>
                <a:close/>
                <a:moveTo>
                  <a:pt x="150" y="75"/>
                </a:moveTo>
                <a:cubicBezTo>
                  <a:pt x="150" y="33"/>
                  <a:pt x="117" y="0"/>
                  <a:pt x="75" y="0"/>
                </a:cubicBezTo>
                <a:cubicBezTo>
                  <a:pt x="34" y="0"/>
                  <a:pt x="0" y="33"/>
                  <a:pt x="0" y="75"/>
                </a:cubicBezTo>
                <a:cubicBezTo>
                  <a:pt x="0" y="116"/>
                  <a:pt x="34" y="150"/>
                  <a:pt x="75" y="150"/>
                </a:cubicBezTo>
                <a:cubicBezTo>
                  <a:pt x="117" y="150"/>
                  <a:pt x="150" y="116"/>
                  <a:pt x="150" y="75"/>
                </a:cubicBezTo>
                <a:close/>
                <a:moveTo>
                  <a:pt x="141" y="75"/>
                </a:moveTo>
                <a:cubicBezTo>
                  <a:pt x="141" y="111"/>
                  <a:pt x="111" y="140"/>
                  <a:pt x="75" y="140"/>
                </a:cubicBezTo>
                <a:cubicBezTo>
                  <a:pt x="39" y="140"/>
                  <a:pt x="10" y="111"/>
                  <a:pt x="10" y="75"/>
                </a:cubicBezTo>
                <a:cubicBezTo>
                  <a:pt x="10" y="38"/>
                  <a:pt x="39" y="9"/>
                  <a:pt x="75" y="9"/>
                </a:cubicBezTo>
                <a:cubicBezTo>
                  <a:pt x="111" y="9"/>
                  <a:pt x="141" y="38"/>
                  <a:pt x="141" y="7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aphicFrame>
        <p:nvGraphicFramePr>
          <p:cNvPr id="29" name="Group 107">
            <a:extLst>
              <a:ext uri="{FF2B5EF4-FFF2-40B4-BE49-F238E27FC236}">
                <a16:creationId xmlns:a16="http://schemas.microsoft.com/office/drawing/2014/main" id="{0A84F3FF-BDE5-4E70-B92F-AD2DC9AE1D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7574920"/>
              </p:ext>
            </p:extLst>
          </p:nvPr>
        </p:nvGraphicFramePr>
        <p:xfrm>
          <a:off x="530901" y="948047"/>
          <a:ext cx="11255630" cy="465639"/>
        </p:xfrm>
        <a:graphic>
          <a:graphicData uri="http://schemas.openxmlformats.org/drawingml/2006/table">
            <a:tbl>
              <a:tblPr/>
              <a:tblGrid>
                <a:gridCol w="112556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65639">
                <a:tc>
                  <a:txBody>
                    <a:bodyPr/>
                    <a:lstStyle/>
                    <a:p>
                      <a:pPr marL="173355" marR="0" lvl="0" indent="-173355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7989A"/>
                        </a:buClr>
                        <a:buSzPct val="75000"/>
                        <a:buFont typeface="Arial" panose="020B0604020202020204" pitchFamily="34" charset="0"/>
                        <a:buChar char="■"/>
                      </a:pPr>
                      <a:r>
                        <a:rPr lang="en-US" sz="1200" b="1" kern="1200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/>
                        </a:rPr>
                        <a:t>Executive Summary:</a:t>
                      </a:r>
                      <a:endParaRPr lang="en-US" sz="1100" b="0" kern="1200" baseline="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1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5E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32527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H_XnpV1DIWJikuUwdf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P - I&amp;E">
  <a:themeElements>
    <a:clrScheme name="Custom 19">
      <a:dk1>
        <a:srgbClr val="666666"/>
      </a:dk1>
      <a:lt1>
        <a:srgbClr val="FFFFFF"/>
      </a:lt1>
      <a:dk2>
        <a:srgbClr val="009900"/>
      </a:dk2>
      <a:lt2>
        <a:srgbClr val="99CC00"/>
      </a:lt2>
      <a:accent1>
        <a:srgbClr val="99CC00"/>
      </a:accent1>
      <a:accent2>
        <a:srgbClr val="009900"/>
      </a:accent2>
      <a:accent3>
        <a:srgbClr val="FFE600"/>
      </a:accent3>
      <a:accent4>
        <a:srgbClr val="666666"/>
      </a:accent4>
      <a:accent5>
        <a:srgbClr val="999999"/>
      </a:accent5>
      <a:accent6>
        <a:srgbClr val="179BD8"/>
      </a:accent6>
      <a:hlink>
        <a:srgbClr val="007833"/>
      </a:hlink>
      <a:folHlink>
        <a:srgbClr val="99CC00"/>
      </a:folHlink>
    </a:clrScheme>
    <a:fontScheme name="BP">
      <a:majorFont>
        <a:latin typeface="Univers for BP"/>
        <a:ea typeface=""/>
        <a:cs typeface=""/>
      </a:majorFont>
      <a:minorFont>
        <a:latin typeface="Univers for BP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KPMG_Widescreen_16:9 02/02/2016">
  <a:themeElements>
    <a:clrScheme name="New KPMG Colours">
      <a:dk1>
        <a:srgbClr val="000000"/>
      </a:dk1>
      <a:lt1>
        <a:sysClr val="window" lastClr="FFFFFF"/>
      </a:lt1>
      <a:dk2>
        <a:srgbClr val="00338D"/>
      </a:dk2>
      <a:lt2>
        <a:srgbClr val="F0F0F0"/>
      </a:lt2>
      <a:accent1>
        <a:srgbClr val="0091DA"/>
      </a:accent1>
      <a:accent2>
        <a:srgbClr val="6D2077"/>
      </a:accent2>
      <a:accent3>
        <a:srgbClr val="005EB8"/>
      </a:accent3>
      <a:accent4>
        <a:srgbClr val="00A3A1"/>
      </a:accent4>
      <a:accent5>
        <a:srgbClr val="EAAA00"/>
      </a:accent5>
      <a:accent6>
        <a:srgbClr val="43B02A"/>
      </a:accent6>
      <a:hlink>
        <a:srgbClr val="0091DA"/>
      </a:hlink>
      <a:folHlink>
        <a:srgbClr val="0091DA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54610" tIns="54610" rIns="54610" bIns="54610" rtlCol="0" anchor="ctr"/>
      <a:lstStyle>
        <a:defPPr algn="l">
          <a:defRPr sz="15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15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KPMG Widescreen Standard Template.potx" id="{C73AE79B-2CEF-4426-A99A-369AC5D8AEFC}" vid="{DDE9EEF4-DA18-4F0F-81B0-593B7DF991DE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06B0053066697489F38D7D5C2A9A7BD" ma:contentTypeVersion="3" ma:contentTypeDescription="Create a new document." ma:contentTypeScope="" ma:versionID="a3488be92e3da3452f311cad9cfd654c">
  <xsd:schema xmlns:xsd="http://www.w3.org/2001/XMLSchema" xmlns:xs="http://www.w3.org/2001/XMLSchema" xmlns:p="http://schemas.microsoft.com/office/2006/metadata/properties" xmlns:ns2="892b8a0c-fd6a-4e60-8456-97565fa9f2b2" targetNamespace="http://schemas.microsoft.com/office/2006/metadata/properties" ma:root="true" ma:fieldsID="af03ad4cd27cbcbacd2d59e9f4d22c19" ns2:_="">
    <xsd:import namespace="892b8a0c-fd6a-4e60-8456-97565fa9f2b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92b8a0c-fd6a-4e60-8456-97565fa9f2b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11F1010-EE57-4E89-9D53-550B2297720F}"/>
</file>

<file path=customXml/itemProps2.xml><?xml version="1.0" encoding="utf-8"?>
<ds:datastoreItem xmlns:ds="http://schemas.openxmlformats.org/officeDocument/2006/customXml" ds:itemID="{FA8F10AB-A1FA-451C-9C95-C08021589F48}"/>
</file>

<file path=customXml/itemProps3.xml><?xml version="1.0" encoding="utf-8"?>
<ds:datastoreItem xmlns:ds="http://schemas.openxmlformats.org/officeDocument/2006/customXml" ds:itemID="{2FA9FA4B-AA19-4985-8E97-9743AC2B88A1}"/>
</file>

<file path=docProps/app.xml><?xml version="1.0" encoding="utf-8"?>
<Properties xmlns="http://schemas.openxmlformats.org/officeDocument/2006/extended-properties" xmlns:vt="http://schemas.openxmlformats.org/officeDocument/2006/docPropsVTypes">
  <TotalTime>1156</TotalTime>
  <Words>235</Words>
  <Application>Microsoft Macintosh PowerPoint</Application>
  <PresentationFormat>Widescreen</PresentationFormat>
  <Paragraphs>92</Paragraphs>
  <Slides>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5" baseType="lpstr">
      <vt:lpstr>Arial</vt:lpstr>
      <vt:lpstr>Arial,Sans-Serif</vt:lpstr>
      <vt:lpstr>Calibri</vt:lpstr>
      <vt:lpstr>Calibri Light</vt:lpstr>
      <vt:lpstr>KPMG Extralight</vt:lpstr>
      <vt:lpstr>Segoe UI Light</vt:lpstr>
      <vt:lpstr>Univers for BP Light</vt:lpstr>
      <vt:lpstr>Wingdings</vt:lpstr>
      <vt:lpstr>Office Theme</vt:lpstr>
      <vt:lpstr>BP - I&amp;E</vt:lpstr>
      <vt:lpstr>1_KPMG_Widescreen_16:9 02/02/2016</vt:lpstr>
      <vt:lpstr>think-cell Slide</vt:lpstr>
      <vt:lpstr>PowerPoint Presentation</vt:lpstr>
      <vt:lpstr>Dashboard</vt:lpstr>
      <vt:lpstr>KPMG Weekly Status Report (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apa, Ramesh</dc:creator>
  <cp:lastModifiedBy>Thapa, Ramesh</cp:lastModifiedBy>
  <cp:revision>5</cp:revision>
  <dcterms:created xsi:type="dcterms:W3CDTF">2023-08-02T19:33:35Z</dcterms:created>
  <dcterms:modified xsi:type="dcterms:W3CDTF">2023-08-03T14:58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06B0053066697489F38D7D5C2A9A7BD</vt:lpwstr>
  </property>
</Properties>
</file>